
<file path=[Content_Types].xml><?xml version="1.0" encoding="utf-8"?>
<Types xmlns="http://schemas.openxmlformats.org/package/2006/content-types">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257" r:id="rId3"/>
    <p:sldId id="258" r:id="rId4"/>
    <p:sldId id="259" r:id="rId5"/>
    <p:sldId id="261" r:id="rId6"/>
    <p:sldId id="263" r:id="rId7"/>
    <p:sldId id="2076137769" r:id="rId8"/>
    <p:sldId id="2076137770" r:id="rId9"/>
    <p:sldId id="2076137778" r:id="rId10"/>
    <p:sldId id="2076137784" r:id="rId11"/>
    <p:sldId id="2076137785" r:id="rId12"/>
    <p:sldId id="2076137787" r:id="rId13"/>
    <p:sldId id="2076137788" r:id="rId14"/>
    <p:sldId id="2076137789" r:id="rId15"/>
    <p:sldId id="2076137790" r:id="rId16"/>
    <p:sldId id="2076137791" r:id="rId17"/>
    <p:sldId id="260" r:id="rId18"/>
    <p:sldId id="2076137772" r:id="rId19"/>
    <p:sldId id="2076137739" r:id="rId20"/>
    <p:sldId id="2076137773" r:id="rId21"/>
    <p:sldId id="2076137775" r:id="rId22"/>
    <p:sldId id="2076137776" r:id="rId23"/>
    <p:sldId id="2076137774" r:id="rId24"/>
    <p:sldId id="2076137782" r:id="rId25"/>
    <p:sldId id="2076137777" r:id="rId26"/>
    <p:sldId id="285" r:id="rId27"/>
    <p:sldId id="2076137779" r:id="rId28"/>
    <p:sldId id="2076137783" r:id="rId29"/>
    <p:sldId id="2076137794" r:id="rId30"/>
    <p:sldId id="2076137795" r:id="rId31"/>
    <p:sldId id="2076137796" r:id="rId32"/>
    <p:sldId id="2076137797" r:id="rId33"/>
    <p:sldId id="2076137798" r:id="rId34"/>
    <p:sldId id="2076137799" r:id="rId35"/>
    <p:sldId id="2076137793"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5050" autoAdjust="0"/>
  </p:normalViewPr>
  <p:slideViewPr>
    <p:cSldViewPr snapToGrid="0">
      <p:cViewPr varScale="1">
        <p:scale>
          <a:sx n="61" d="100"/>
          <a:sy n="61" d="100"/>
        </p:scale>
        <p:origin x="1098"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iagrams/_rels/data5.xml.rels><?xml version="1.0" encoding="UTF-8" standalone="yes"?>
<Relationships xmlns="http://schemas.openxmlformats.org/package/2006/relationships"><Relationship Id="rId2" Type="http://schemas.openxmlformats.org/officeDocument/2006/relationships/hyperlink" Target="https://www.atlassian.com/devops/what-is-devops" TargetMode="External"/><Relationship Id="rId1" Type="http://schemas.openxmlformats.org/officeDocument/2006/relationships/hyperlink" Target="https://www.atlassian.com/agile" TargetMode="External"/></Relationships>
</file>

<file path=ppt/diagrams/_rels/drawing5.xml.rels><?xml version="1.0" encoding="UTF-8" standalone="yes"?>
<Relationships xmlns="http://schemas.openxmlformats.org/package/2006/relationships"><Relationship Id="rId2" Type="http://schemas.openxmlformats.org/officeDocument/2006/relationships/hyperlink" Target="https://www.atlassian.com/devops/what-is-devops" TargetMode="External"/><Relationship Id="rId1" Type="http://schemas.openxmlformats.org/officeDocument/2006/relationships/hyperlink" Target="https://www.atlassian.com/agile" TargetMode="Externa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995B3C-8CA8-4267-ABD3-568D0769D9D4}" type="doc">
      <dgm:prSet loTypeId="urn:microsoft.com/office/officeart/2005/8/layout/vList2" loCatId="list" qsTypeId="urn:microsoft.com/office/officeart/2005/8/quickstyle/simple1" qsCatId="simple" csTypeId="urn:microsoft.com/office/officeart/2005/8/colors/colorful5" csCatId="colorful"/>
      <dgm:spPr/>
      <dgm:t>
        <a:bodyPr/>
        <a:lstStyle/>
        <a:p>
          <a:endParaRPr lang="en-US"/>
        </a:p>
      </dgm:t>
    </dgm:pt>
    <dgm:pt modelId="{02E5617F-449F-444B-9FF8-EB5F080F6F18}">
      <dgm:prSet/>
      <dgm:spPr/>
      <dgm:t>
        <a:bodyPr/>
        <a:lstStyle/>
        <a:p>
          <a:r>
            <a:rPr lang="en-US"/>
            <a:t>Introduction</a:t>
          </a:r>
        </a:p>
      </dgm:t>
    </dgm:pt>
    <dgm:pt modelId="{9CB88B13-4287-46C3-ABD5-2BE1EDBED5DA}" type="parTrans" cxnId="{F0D787B0-A543-4786-ACBA-C8E44A965D0E}">
      <dgm:prSet/>
      <dgm:spPr/>
      <dgm:t>
        <a:bodyPr/>
        <a:lstStyle/>
        <a:p>
          <a:endParaRPr lang="en-US"/>
        </a:p>
      </dgm:t>
    </dgm:pt>
    <dgm:pt modelId="{683CF25D-2A80-4698-9135-E06CDD3B8E87}" type="sibTrans" cxnId="{F0D787B0-A543-4786-ACBA-C8E44A965D0E}">
      <dgm:prSet/>
      <dgm:spPr/>
      <dgm:t>
        <a:bodyPr/>
        <a:lstStyle/>
        <a:p>
          <a:endParaRPr lang="en-US"/>
        </a:p>
      </dgm:t>
    </dgm:pt>
    <dgm:pt modelId="{E92BB1A3-D6E9-4D78-96FB-455DE28D2D1D}">
      <dgm:prSet/>
      <dgm:spPr/>
      <dgm:t>
        <a:bodyPr/>
        <a:lstStyle/>
        <a:p>
          <a:r>
            <a:rPr lang="en-US"/>
            <a:t>SDLC Overview</a:t>
          </a:r>
        </a:p>
      </dgm:t>
    </dgm:pt>
    <dgm:pt modelId="{70C03E39-84CA-4C87-8A60-9B4BBD0B49C7}" type="parTrans" cxnId="{07933F82-5ED2-4715-9B25-594883B970D2}">
      <dgm:prSet/>
      <dgm:spPr/>
      <dgm:t>
        <a:bodyPr/>
        <a:lstStyle/>
        <a:p>
          <a:endParaRPr lang="en-US"/>
        </a:p>
      </dgm:t>
    </dgm:pt>
    <dgm:pt modelId="{E6C7582E-AFDD-4ACE-8F53-6CB799525ECB}" type="sibTrans" cxnId="{07933F82-5ED2-4715-9B25-594883B970D2}">
      <dgm:prSet/>
      <dgm:spPr/>
      <dgm:t>
        <a:bodyPr/>
        <a:lstStyle/>
        <a:p>
          <a:endParaRPr lang="en-US"/>
        </a:p>
      </dgm:t>
    </dgm:pt>
    <dgm:pt modelId="{026E4151-3FD0-4A82-896A-22165EBE32CB}">
      <dgm:prSet/>
      <dgm:spPr/>
      <dgm:t>
        <a:bodyPr/>
        <a:lstStyle/>
        <a:p>
          <a:r>
            <a:rPr lang="en-US"/>
            <a:t>SDLC Phases</a:t>
          </a:r>
        </a:p>
      </dgm:t>
    </dgm:pt>
    <dgm:pt modelId="{1672E5B6-E5FB-4564-BE8A-1047C4D47B3E}" type="parTrans" cxnId="{3DC63B13-4F2A-429D-9DF1-27CE57980499}">
      <dgm:prSet/>
      <dgm:spPr/>
      <dgm:t>
        <a:bodyPr/>
        <a:lstStyle/>
        <a:p>
          <a:endParaRPr lang="en-US"/>
        </a:p>
      </dgm:t>
    </dgm:pt>
    <dgm:pt modelId="{D6F939DC-85B8-4A50-973A-EB8CFE531691}" type="sibTrans" cxnId="{3DC63B13-4F2A-429D-9DF1-27CE57980499}">
      <dgm:prSet/>
      <dgm:spPr/>
      <dgm:t>
        <a:bodyPr/>
        <a:lstStyle/>
        <a:p>
          <a:endParaRPr lang="en-US"/>
        </a:p>
      </dgm:t>
    </dgm:pt>
    <dgm:pt modelId="{9FACC106-CC9C-4F14-8D0B-D6C9159C4A27}">
      <dgm:prSet/>
      <dgm:spPr/>
      <dgm:t>
        <a:bodyPr/>
        <a:lstStyle/>
        <a:p>
          <a:r>
            <a:rPr lang="en-US" dirty="0"/>
            <a:t>SDLC Model</a:t>
          </a:r>
        </a:p>
      </dgm:t>
    </dgm:pt>
    <dgm:pt modelId="{8D0C7F05-3D81-431A-9CAB-EC464F8F7F97}" type="parTrans" cxnId="{AAAB33B9-D1A6-46B1-9C1A-48CA5E2B5D65}">
      <dgm:prSet/>
      <dgm:spPr/>
      <dgm:t>
        <a:bodyPr/>
        <a:lstStyle/>
        <a:p>
          <a:endParaRPr lang="en-US"/>
        </a:p>
      </dgm:t>
    </dgm:pt>
    <dgm:pt modelId="{F5CE76F8-7D2A-4F02-80D0-E8EE3A39E969}" type="sibTrans" cxnId="{AAAB33B9-D1A6-46B1-9C1A-48CA5E2B5D65}">
      <dgm:prSet/>
      <dgm:spPr/>
      <dgm:t>
        <a:bodyPr/>
        <a:lstStyle/>
        <a:p>
          <a:endParaRPr lang="en-US"/>
        </a:p>
      </dgm:t>
    </dgm:pt>
    <dgm:pt modelId="{35EF7C8E-6673-4B7D-AF5D-72A4E19AFFFB}">
      <dgm:prSet/>
      <dgm:spPr/>
      <dgm:t>
        <a:bodyPr/>
        <a:lstStyle/>
        <a:p>
          <a:r>
            <a:rPr lang="en-US"/>
            <a:t>Risk Management of SDLC project</a:t>
          </a:r>
        </a:p>
      </dgm:t>
    </dgm:pt>
    <dgm:pt modelId="{4AAD0FD5-9817-4389-B2DD-B3E9E1D33B96}" type="parTrans" cxnId="{4F3D5FBF-8D11-4D94-A1E3-755A3C5E42D3}">
      <dgm:prSet/>
      <dgm:spPr/>
      <dgm:t>
        <a:bodyPr/>
        <a:lstStyle/>
        <a:p>
          <a:endParaRPr lang="en-US"/>
        </a:p>
      </dgm:t>
    </dgm:pt>
    <dgm:pt modelId="{3DA62300-D942-4231-8A15-E0F6566888E0}" type="sibTrans" cxnId="{4F3D5FBF-8D11-4D94-A1E3-755A3C5E42D3}">
      <dgm:prSet/>
      <dgm:spPr/>
      <dgm:t>
        <a:bodyPr/>
        <a:lstStyle/>
        <a:p>
          <a:endParaRPr lang="en-US"/>
        </a:p>
      </dgm:t>
    </dgm:pt>
    <dgm:pt modelId="{4F6E4A25-1235-4B8A-B8DB-A078B0399E83}">
      <dgm:prSet/>
      <dgm:spPr/>
      <dgm:t>
        <a:bodyPr/>
        <a:lstStyle/>
        <a:p>
          <a:r>
            <a:rPr lang="en-US"/>
            <a:t>Real World Examples</a:t>
          </a:r>
        </a:p>
      </dgm:t>
    </dgm:pt>
    <dgm:pt modelId="{B49C1037-2D04-4EE2-8FBD-DAC820634E80}" type="parTrans" cxnId="{42D1834B-834B-407E-ACF4-18EADBE0AE90}">
      <dgm:prSet/>
      <dgm:spPr/>
      <dgm:t>
        <a:bodyPr/>
        <a:lstStyle/>
        <a:p>
          <a:endParaRPr lang="en-US"/>
        </a:p>
      </dgm:t>
    </dgm:pt>
    <dgm:pt modelId="{3412319D-7A88-479B-B2A7-7E3CB568E73D}" type="sibTrans" cxnId="{42D1834B-834B-407E-ACF4-18EADBE0AE90}">
      <dgm:prSet/>
      <dgm:spPr/>
      <dgm:t>
        <a:bodyPr/>
        <a:lstStyle/>
        <a:p>
          <a:endParaRPr lang="en-US"/>
        </a:p>
      </dgm:t>
    </dgm:pt>
    <dgm:pt modelId="{F88F3319-8781-4083-90A2-BE7EA0A49C7D}">
      <dgm:prSet/>
      <dgm:spPr/>
      <dgm:t>
        <a:bodyPr/>
        <a:lstStyle/>
        <a:p>
          <a:r>
            <a:rPr lang="en-US"/>
            <a:t>Agile Model</a:t>
          </a:r>
        </a:p>
      </dgm:t>
    </dgm:pt>
    <dgm:pt modelId="{1EE61237-FB8B-40FA-B741-821EC49EACF2}" type="parTrans" cxnId="{BD233E9C-02E2-4F41-944C-CD05FB7A5F42}">
      <dgm:prSet/>
      <dgm:spPr/>
      <dgm:t>
        <a:bodyPr/>
        <a:lstStyle/>
        <a:p>
          <a:endParaRPr lang="en-US"/>
        </a:p>
      </dgm:t>
    </dgm:pt>
    <dgm:pt modelId="{4ACF5BCE-98A7-4022-8138-38B4E6AC673D}" type="sibTrans" cxnId="{BD233E9C-02E2-4F41-944C-CD05FB7A5F42}">
      <dgm:prSet/>
      <dgm:spPr/>
      <dgm:t>
        <a:bodyPr/>
        <a:lstStyle/>
        <a:p>
          <a:endParaRPr lang="en-US"/>
        </a:p>
      </dgm:t>
    </dgm:pt>
    <dgm:pt modelId="{93AB68B4-058B-41A9-BFC7-918BC481CD73}">
      <dgm:prSet/>
      <dgm:spPr/>
      <dgm:t>
        <a:bodyPr/>
        <a:lstStyle/>
        <a:p>
          <a:r>
            <a:rPr lang="en-US"/>
            <a:t>Agile in Projects</a:t>
          </a:r>
        </a:p>
      </dgm:t>
    </dgm:pt>
    <dgm:pt modelId="{E9075D7D-44E6-43AB-872D-5178322F3879}" type="parTrans" cxnId="{8E098E5C-87EB-4062-8E32-CA6B0E978716}">
      <dgm:prSet/>
      <dgm:spPr/>
      <dgm:t>
        <a:bodyPr/>
        <a:lstStyle/>
        <a:p>
          <a:endParaRPr lang="en-US"/>
        </a:p>
      </dgm:t>
    </dgm:pt>
    <dgm:pt modelId="{D1DE7711-1B27-4E77-BF46-092FDA18BBE3}" type="sibTrans" cxnId="{8E098E5C-87EB-4062-8E32-CA6B0E978716}">
      <dgm:prSet/>
      <dgm:spPr/>
      <dgm:t>
        <a:bodyPr/>
        <a:lstStyle/>
        <a:p>
          <a:endParaRPr lang="en-US"/>
        </a:p>
      </dgm:t>
    </dgm:pt>
    <dgm:pt modelId="{F80327E6-8027-44E0-BFBE-72D3E69F8CA9}">
      <dgm:prSet/>
      <dgm:spPr/>
      <dgm:t>
        <a:bodyPr/>
        <a:lstStyle/>
        <a:p>
          <a:r>
            <a:rPr lang="en-US"/>
            <a:t>Conclusion</a:t>
          </a:r>
        </a:p>
      </dgm:t>
    </dgm:pt>
    <dgm:pt modelId="{A3E65F00-7A2D-4863-A918-5B21CB7EDCAE}" type="parTrans" cxnId="{9FB2FD42-46D0-480D-9C92-69E0B662B00E}">
      <dgm:prSet/>
      <dgm:spPr/>
      <dgm:t>
        <a:bodyPr/>
        <a:lstStyle/>
        <a:p>
          <a:endParaRPr lang="en-US"/>
        </a:p>
      </dgm:t>
    </dgm:pt>
    <dgm:pt modelId="{7B86B637-0771-4C1E-B727-CA4F650C26F9}" type="sibTrans" cxnId="{9FB2FD42-46D0-480D-9C92-69E0B662B00E}">
      <dgm:prSet/>
      <dgm:spPr/>
      <dgm:t>
        <a:bodyPr/>
        <a:lstStyle/>
        <a:p>
          <a:endParaRPr lang="en-US"/>
        </a:p>
      </dgm:t>
    </dgm:pt>
    <dgm:pt modelId="{76FA2749-428F-46E5-A3F1-23695859AE1F}" type="pres">
      <dgm:prSet presAssocID="{32995B3C-8CA8-4267-ABD3-568D0769D9D4}" presName="linear" presStyleCnt="0">
        <dgm:presLayoutVars>
          <dgm:animLvl val="lvl"/>
          <dgm:resizeHandles val="exact"/>
        </dgm:presLayoutVars>
      </dgm:prSet>
      <dgm:spPr/>
    </dgm:pt>
    <dgm:pt modelId="{6ECE69AE-F087-41DC-AE4F-7B6DAAF05B56}" type="pres">
      <dgm:prSet presAssocID="{02E5617F-449F-444B-9FF8-EB5F080F6F18}" presName="parentText" presStyleLbl="node1" presStyleIdx="0" presStyleCnt="9">
        <dgm:presLayoutVars>
          <dgm:chMax val="0"/>
          <dgm:bulletEnabled val="1"/>
        </dgm:presLayoutVars>
      </dgm:prSet>
      <dgm:spPr/>
    </dgm:pt>
    <dgm:pt modelId="{6D866A73-BDBC-4D0B-B33F-0575828D9E0A}" type="pres">
      <dgm:prSet presAssocID="{683CF25D-2A80-4698-9135-E06CDD3B8E87}" presName="spacer" presStyleCnt="0"/>
      <dgm:spPr/>
    </dgm:pt>
    <dgm:pt modelId="{83D97E01-EC5A-48A4-98FB-EDACC26C2A55}" type="pres">
      <dgm:prSet presAssocID="{E92BB1A3-D6E9-4D78-96FB-455DE28D2D1D}" presName="parentText" presStyleLbl="node1" presStyleIdx="1" presStyleCnt="9">
        <dgm:presLayoutVars>
          <dgm:chMax val="0"/>
          <dgm:bulletEnabled val="1"/>
        </dgm:presLayoutVars>
      </dgm:prSet>
      <dgm:spPr/>
    </dgm:pt>
    <dgm:pt modelId="{6D6597B4-D0A3-4666-A528-31C9C0CDB19E}" type="pres">
      <dgm:prSet presAssocID="{E6C7582E-AFDD-4ACE-8F53-6CB799525ECB}" presName="spacer" presStyleCnt="0"/>
      <dgm:spPr/>
    </dgm:pt>
    <dgm:pt modelId="{C1B887AA-4AE4-4EC1-8CBC-8949608030E6}" type="pres">
      <dgm:prSet presAssocID="{026E4151-3FD0-4A82-896A-22165EBE32CB}" presName="parentText" presStyleLbl="node1" presStyleIdx="2" presStyleCnt="9">
        <dgm:presLayoutVars>
          <dgm:chMax val="0"/>
          <dgm:bulletEnabled val="1"/>
        </dgm:presLayoutVars>
      </dgm:prSet>
      <dgm:spPr/>
    </dgm:pt>
    <dgm:pt modelId="{C59B72F0-5BE2-4D50-9370-3703556EB37C}" type="pres">
      <dgm:prSet presAssocID="{D6F939DC-85B8-4A50-973A-EB8CFE531691}" presName="spacer" presStyleCnt="0"/>
      <dgm:spPr/>
    </dgm:pt>
    <dgm:pt modelId="{B6CF5CA5-0B2F-45FB-B24F-4485E058AD93}" type="pres">
      <dgm:prSet presAssocID="{9FACC106-CC9C-4F14-8D0B-D6C9159C4A27}" presName="parentText" presStyleLbl="node1" presStyleIdx="3" presStyleCnt="9">
        <dgm:presLayoutVars>
          <dgm:chMax val="0"/>
          <dgm:bulletEnabled val="1"/>
        </dgm:presLayoutVars>
      </dgm:prSet>
      <dgm:spPr/>
    </dgm:pt>
    <dgm:pt modelId="{8D6B8B4A-F559-4E0E-B98A-06989A556899}" type="pres">
      <dgm:prSet presAssocID="{F5CE76F8-7D2A-4F02-80D0-E8EE3A39E969}" presName="spacer" presStyleCnt="0"/>
      <dgm:spPr/>
    </dgm:pt>
    <dgm:pt modelId="{ED354CC9-59D4-4085-A4AC-74925BE2DD8E}" type="pres">
      <dgm:prSet presAssocID="{35EF7C8E-6673-4B7D-AF5D-72A4E19AFFFB}" presName="parentText" presStyleLbl="node1" presStyleIdx="4" presStyleCnt="9">
        <dgm:presLayoutVars>
          <dgm:chMax val="0"/>
          <dgm:bulletEnabled val="1"/>
        </dgm:presLayoutVars>
      </dgm:prSet>
      <dgm:spPr/>
    </dgm:pt>
    <dgm:pt modelId="{EA0E5FD5-E34C-4327-8CC8-E9A679252208}" type="pres">
      <dgm:prSet presAssocID="{3DA62300-D942-4231-8A15-E0F6566888E0}" presName="spacer" presStyleCnt="0"/>
      <dgm:spPr/>
    </dgm:pt>
    <dgm:pt modelId="{A860F779-8024-47F8-BFB2-9F03E5D7E254}" type="pres">
      <dgm:prSet presAssocID="{4F6E4A25-1235-4B8A-B8DB-A078B0399E83}" presName="parentText" presStyleLbl="node1" presStyleIdx="5" presStyleCnt="9">
        <dgm:presLayoutVars>
          <dgm:chMax val="0"/>
          <dgm:bulletEnabled val="1"/>
        </dgm:presLayoutVars>
      </dgm:prSet>
      <dgm:spPr/>
    </dgm:pt>
    <dgm:pt modelId="{2FDD5129-5CEB-4053-8C19-7AACDC68BF23}" type="pres">
      <dgm:prSet presAssocID="{3412319D-7A88-479B-B2A7-7E3CB568E73D}" presName="spacer" presStyleCnt="0"/>
      <dgm:spPr/>
    </dgm:pt>
    <dgm:pt modelId="{33A3FAE8-4803-43AE-8259-FE185CB51608}" type="pres">
      <dgm:prSet presAssocID="{F88F3319-8781-4083-90A2-BE7EA0A49C7D}" presName="parentText" presStyleLbl="node1" presStyleIdx="6" presStyleCnt="9">
        <dgm:presLayoutVars>
          <dgm:chMax val="0"/>
          <dgm:bulletEnabled val="1"/>
        </dgm:presLayoutVars>
      </dgm:prSet>
      <dgm:spPr/>
    </dgm:pt>
    <dgm:pt modelId="{16257CBD-791E-4ABE-AFD5-649BC9BDC3F4}" type="pres">
      <dgm:prSet presAssocID="{4ACF5BCE-98A7-4022-8138-38B4E6AC673D}" presName="spacer" presStyleCnt="0"/>
      <dgm:spPr/>
    </dgm:pt>
    <dgm:pt modelId="{2C1AE966-D98E-4FEC-97F1-8850B5729D8D}" type="pres">
      <dgm:prSet presAssocID="{93AB68B4-058B-41A9-BFC7-918BC481CD73}" presName="parentText" presStyleLbl="node1" presStyleIdx="7" presStyleCnt="9">
        <dgm:presLayoutVars>
          <dgm:chMax val="0"/>
          <dgm:bulletEnabled val="1"/>
        </dgm:presLayoutVars>
      </dgm:prSet>
      <dgm:spPr/>
    </dgm:pt>
    <dgm:pt modelId="{5523325B-6D60-4FC0-A56C-7D8DE68E286A}" type="pres">
      <dgm:prSet presAssocID="{D1DE7711-1B27-4E77-BF46-092FDA18BBE3}" presName="spacer" presStyleCnt="0"/>
      <dgm:spPr/>
    </dgm:pt>
    <dgm:pt modelId="{4AFB1881-670D-4A90-BA1E-FC908B6F56D6}" type="pres">
      <dgm:prSet presAssocID="{F80327E6-8027-44E0-BFBE-72D3E69F8CA9}" presName="parentText" presStyleLbl="node1" presStyleIdx="8" presStyleCnt="9">
        <dgm:presLayoutVars>
          <dgm:chMax val="0"/>
          <dgm:bulletEnabled val="1"/>
        </dgm:presLayoutVars>
      </dgm:prSet>
      <dgm:spPr/>
    </dgm:pt>
  </dgm:ptLst>
  <dgm:cxnLst>
    <dgm:cxn modelId="{3DC63B13-4F2A-429D-9DF1-27CE57980499}" srcId="{32995B3C-8CA8-4267-ABD3-568D0769D9D4}" destId="{026E4151-3FD0-4A82-896A-22165EBE32CB}" srcOrd="2" destOrd="0" parTransId="{1672E5B6-E5FB-4564-BE8A-1047C4D47B3E}" sibTransId="{D6F939DC-85B8-4A50-973A-EB8CFE531691}"/>
    <dgm:cxn modelId="{641B9F2C-4817-475A-AB83-8AE516FEF289}" type="presOf" srcId="{9FACC106-CC9C-4F14-8D0B-D6C9159C4A27}" destId="{B6CF5CA5-0B2F-45FB-B24F-4485E058AD93}" srcOrd="0" destOrd="0" presId="urn:microsoft.com/office/officeart/2005/8/layout/vList2"/>
    <dgm:cxn modelId="{4C8E713A-8BCB-4BD1-8CFA-1F31AEBD6D22}" type="presOf" srcId="{93AB68B4-058B-41A9-BFC7-918BC481CD73}" destId="{2C1AE966-D98E-4FEC-97F1-8850B5729D8D}" srcOrd="0" destOrd="0" presId="urn:microsoft.com/office/officeart/2005/8/layout/vList2"/>
    <dgm:cxn modelId="{E1D0065C-0989-43E1-A83F-F7FC35952EA0}" type="presOf" srcId="{F88F3319-8781-4083-90A2-BE7EA0A49C7D}" destId="{33A3FAE8-4803-43AE-8259-FE185CB51608}" srcOrd="0" destOrd="0" presId="urn:microsoft.com/office/officeart/2005/8/layout/vList2"/>
    <dgm:cxn modelId="{8E098E5C-87EB-4062-8E32-CA6B0E978716}" srcId="{32995B3C-8CA8-4267-ABD3-568D0769D9D4}" destId="{93AB68B4-058B-41A9-BFC7-918BC481CD73}" srcOrd="7" destOrd="0" parTransId="{E9075D7D-44E6-43AB-872D-5178322F3879}" sibTransId="{D1DE7711-1B27-4E77-BF46-092FDA18BBE3}"/>
    <dgm:cxn modelId="{26451860-647F-4D60-843E-957AA7F246DB}" type="presOf" srcId="{4F6E4A25-1235-4B8A-B8DB-A078B0399E83}" destId="{A860F779-8024-47F8-BFB2-9F03E5D7E254}" srcOrd="0" destOrd="0" presId="urn:microsoft.com/office/officeart/2005/8/layout/vList2"/>
    <dgm:cxn modelId="{9FB2FD42-46D0-480D-9C92-69E0B662B00E}" srcId="{32995B3C-8CA8-4267-ABD3-568D0769D9D4}" destId="{F80327E6-8027-44E0-BFBE-72D3E69F8CA9}" srcOrd="8" destOrd="0" parTransId="{A3E65F00-7A2D-4863-A918-5B21CB7EDCAE}" sibTransId="{7B86B637-0771-4C1E-B727-CA4F650C26F9}"/>
    <dgm:cxn modelId="{F0B0516B-DE4C-4379-B495-0489B60B3DC7}" type="presOf" srcId="{02E5617F-449F-444B-9FF8-EB5F080F6F18}" destId="{6ECE69AE-F087-41DC-AE4F-7B6DAAF05B56}" srcOrd="0" destOrd="0" presId="urn:microsoft.com/office/officeart/2005/8/layout/vList2"/>
    <dgm:cxn modelId="{42D1834B-834B-407E-ACF4-18EADBE0AE90}" srcId="{32995B3C-8CA8-4267-ABD3-568D0769D9D4}" destId="{4F6E4A25-1235-4B8A-B8DB-A078B0399E83}" srcOrd="5" destOrd="0" parTransId="{B49C1037-2D04-4EE2-8FBD-DAC820634E80}" sibTransId="{3412319D-7A88-479B-B2A7-7E3CB568E73D}"/>
    <dgm:cxn modelId="{07933F82-5ED2-4715-9B25-594883B970D2}" srcId="{32995B3C-8CA8-4267-ABD3-568D0769D9D4}" destId="{E92BB1A3-D6E9-4D78-96FB-455DE28D2D1D}" srcOrd="1" destOrd="0" parTransId="{70C03E39-84CA-4C87-8A60-9B4BBD0B49C7}" sibTransId="{E6C7582E-AFDD-4ACE-8F53-6CB799525ECB}"/>
    <dgm:cxn modelId="{D7CE3787-807D-4CEA-AE5F-97E46AE8768C}" type="presOf" srcId="{F80327E6-8027-44E0-BFBE-72D3E69F8CA9}" destId="{4AFB1881-670D-4A90-BA1E-FC908B6F56D6}" srcOrd="0" destOrd="0" presId="urn:microsoft.com/office/officeart/2005/8/layout/vList2"/>
    <dgm:cxn modelId="{FE810B9A-C9C9-471A-8C9D-FA26626C81B8}" type="presOf" srcId="{026E4151-3FD0-4A82-896A-22165EBE32CB}" destId="{C1B887AA-4AE4-4EC1-8CBC-8949608030E6}" srcOrd="0" destOrd="0" presId="urn:microsoft.com/office/officeart/2005/8/layout/vList2"/>
    <dgm:cxn modelId="{BD233E9C-02E2-4F41-944C-CD05FB7A5F42}" srcId="{32995B3C-8CA8-4267-ABD3-568D0769D9D4}" destId="{F88F3319-8781-4083-90A2-BE7EA0A49C7D}" srcOrd="6" destOrd="0" parTransId="{1EE61237-FB8B-40FA-B741-821EC49EACF2}" sibTransId="{4ACF5BCE-98A7-4022-8138-38B4E6AC673D}"/>
    <dgm:cxn modelId="{F0D787B0-A543-4786-ACBA-C8E44A965D0E}" srcId="{32995B3C-8CA8-4267-ABD3-568D0769D9D4}" destId="{02E5617F-449F-444B-9FF8-EB5F080F6F18}" srcOrd="0" destOrd="0" parTransId="{9CB88B13-4287-46C3-ABD5-2BE1EDBED5DA}" sibTransId="{683CF25D-2A80-4698-9135-E06CDD3B8E87}"/>
    <dgm:cxn modelId="{AAAB33B9-D1A6-46B1-9C1A-48CA5E2B5D65}" srcId="{32995B3C-8CA8-4267-ABD3-568D0769D9D4}" destId="{9FACC106-CC9C-4F14-8D0B-D6C9159C4A27}" srcOrd="3" destOrd="0" parTransId="{8D0C7F05-3D81-431A-9CAB-EC464F8F7F97}" sibTransId="{F5CE76F8-7D2A-4F02-80D0-E8EE3A39E969}"/>
    <dgm:cxn modelId="{4F3D5FBF-8D11-4D94-A1E3-755A3C5E42D3}" srcId="{32995B3C-8CA8-4267-ABD3-568D0769D9D4}" destId="{35EF7C8E-6673-4B7D-AF5D-72A4E19AFFFB}" srcOrd="4" destOrd="0" parTransId="{4AAD0FD5-9817-4389-B2DD-B3E9E1D33B96}" sibTransId="{3DA62300-D942-4231-8A15-E0F6566888E0}"/>
    <dgm:cxn modelId="{CD5C6AD3-3C29-4506-9FAC-986D4B7B037E}" type="presOf" srcId="{32995B3C-8CA8-4267-ABD3-568D0769D9D4}" destId="{76FA2749-428F-46E5-A3F1-23695859AE1F}" srcOrd="0" destOrd="0" presId="urn:microsoft.com/office/officeart/2005/8/layout/vList2"/>
    <dgm:cxn modelId="{648FE5DF-958D-423B-AD08-ECE0B37378C6}" type="presOf" srcId="{35EF7C8E-6673-4B7D-AF5D-72A4E19AFFFB}" destId="{ED354CC9-59D4-4085-A4AC-74925BE2DD8E}" srcOrd="0" destOrd="0" presId="urn:microsoft.com/office/officeart/2005/8/layout/vList2"/>
    <dgm:cxn modelId="{0C0165F7-56C7-4643-ACD8-EF85AE4755C1}" type="presOf" srcId="{E92BB1A3-D6E9-4D78-96FB-455DE28D2D1D}" destId="{83D97E01-EC5A-48A4-98FB-EDACC26C2A55}" srcOrd="0" destOrd="0" presId="urn:microsoft.com/office/officeart/2005/8/layout/vList2"/>
    <dgm:cxn modelId="{18401150-EFD7-4CA6-B40A-B653BDDBCB29}" type="presParOf" srcId="{76FA2749-428F-46E5-A3F1-23695859AE1F}" destId="{6ECE69AE-F087-41DC-AE4F-7B6DAAF05B56}" srcOrd="0" destOrd="0" presId="urn:microsoft.com/office/officeart/2005/8/layout/vList2"/>
    <dgm:cxn modelId="{25ECD5B2-C6F3-4C74-9156-95C91AFD99A4}" type="presParOf" srcId="{76FA2749-428F-46E5-A3F1-23695859AE1F}" destId="{6D866A73-BDBC-4D0B-B33F-0575828D9E0A}" srcOrd="1" destOrd="0" presId="urn:microsoft.com/office/officeart/2005/8/layout/vList2"/>
    <dgm:cxn modelId="{42332535-C24B-4F59-BCFA-775873AC762A}" type="presParOf" srcId="{76FA2749-428F-46E5-A3F1-23695859AE1F}" destId="{83D97E01-EC5A-48A4-98FB-EDACC26C2A55}" srcOrd="2" destOrd="0" presId="urn:microsoft.com/office/officeart/2005/8/layout/vList2"/>
    <dgm:cxn modelId="{098093F5-535C-41D5-BB16-37831D531979}" type="presParOf" srcId="{76FA2749-428F-46E5-A3F1-23695859AE1F}" destId="{6D6597B4-D0A3-4666-A528-31C9C0CDB19E}" srcOrd="3" destOrd="0" presId="urn:microsoft.com/office/officeart/2005/8/layout/vList2"/>
    <dgm:cxn modelId="{CCE28D5F-C921-4F59-8FEC-C589D8DE2EED}" type="presParOf" srcId="{76FA2749-428F-46E5-A3F1-23695859AE1F}" destId="{C1B887AA-4AE4-4EC1-8CBC-8949608030E6}" srcOrd="4" destOrd="0" presId="urn:microsoft.com/office/officeart/2005/8/layout/vList2"/>
    <dgm:cxn modelId="{D72A9A37-137B-461E-A8B9-4468505651FB}" type="presParOf" srcId="{76FA2749-428F-46E5-A3F1-23695859AE1F}" destId="{C59B72F0-5BE2-4D50-9370-3703556EB37C}" srcOrd="5" destOrd="0" presId="urn:microsoft.com/office/officeart/2005/8/layout/vList2"/>
    <dgm:cxn modelId="{284F497F-E5A5-4F40-8A0F-F5D16E460FCE}" type="presParOf" srcId="{76FA2749-428F-46E5-A3F1-23695859AE1F}" destId="{B6CF5CA5-0B2F-45FB-B24F-4485E058AD93}" srcOrd="6" destOrd="0" presId="urn:microsoft.com/office/officeart/2005/8/layout/vList2"/>
    <dgm:cxn modelId="{4530B184-2F58-4D26-A6DA-61BBD068E09A}" type="presParOf" srcId="{76FA2749-428F-46E5-A3F1-23695859AE1F}" destId="{8D6B8B4A-F559-4E0E-B98A-06989A556899}" srcOrd="7" destOrd="0" presId="urn:microsoft.com/office/officeart/2005/8/layout/vList2"/>
    <dgm:cxn modelId="{C05E38E9-8507-46EE-A7AE-1C44F8308502}" type="presParOf" srcId="{76FA2749-428F-46E5-A3F1-23695859AE1F}" destId="{ED354CC9-59D4-4085-A4AC-74925BE2DD8E}" srcOrd="8" destOrd="0" presId="urn:microsoft.com/office/officeart/2005/8/layout/vList2"/>
    <dgm:cxn modelId="{B1FE5AD6-235E-4318-A611-950F35E965B6}" type="presParOf" srcId="{76FA2749-428F-46E5-A3F1-23695859AE1F}" destId="{EA0E5FD5-E34C-4327-8CC8-E9A679252208}" srcOrd="9" destOrd="0" presId="urn:microsoft.com/office/officeart/2005/8/layout/vList2"/>
    <dgm:cxn modelId="{88DEA57D-A62C-49EC-B058-15DE892A67F0}" type="presParOf" srcId="{76FA2749-428F-46E5-A3F1-23695859AE1F}" destId="{A860F779-8024-47F8-BFB2-9F03E5D7E254}" srcOrd="10" destOrd="0" presId="urn:microsoft.com/office/officeart/2005/8/layout/vList2"/>
    <dgm:cxn modelId="{5B63860E-126F-49B2-B851-1C04827E6862}" type="presParOf" srcId="{76FA2749-428F-46E5-A3F1-23695859AE1F}" destId="{2FDD5129-5CEB-4053-8C19-7AACDC68BF23}" srcOrd="11" destOrd="0" presId="urn:microsoft.com/office/officeart/2005/8/layout/vList2"/>
    <dgm:cxn modelId="{0AC37FD5-ECDF-4366-820D-7FA76DAC3E8B}" type="presParOf" srcId="{76FA2749-428F-46E5-A3F1-23695859AE1F}" destId="{33A3FAE8-4803-43AE-8259-FE185CB51608}" srcOrd="12" destOrd="0" presId="urn:microsoft.com/office/officeart/2005/8/layout/vList2"/>
    <dgm:cxn modelId="{DFDAE541-2A66-4BEB-97A1-BAAA9AAC213B}" type="presParOf" srcId="{76FA2749-428F-46E5-A3F1-23695859AE1F}" destId="{16257CBD-791E-4ABE-AFD5-649BC9BDC3F4}" srcOrd="13" destOrd="0" presId="urn:microsoft.com/office/officeart/2005/8/layout/vList2"/>
    <dgm:cxn modelId="{0387B0FB-E617-412F-9E17-CBAC9A872E7B}" type="presParOf" srcId="{76FA2749-428F-46E5-A3F1-23695859AE1F}" destId="{2C1AE966-D98E-4FEC-97F1-8850B5729D8D}" srcOrd="14" destOrd="0" presId="urn:microsoft.com/office/officeart/2005/8/layout/vList2"/>
    <dgm:cxn modelId="{8031E4ED-7697-4411-95DF-180747AF1053}" type="presParOf" srcId="{76FA2749-428F-46E5-A3F1-23695859AE1F}" destId="{5523325B-6D60-4FC0-A56C-7D8DE68E286A}" srcOrd="15" destOrd="0" presId="urn:microsoft.com/office/officeart/2005/8/layout/vList2"/>
    <dgm:cxn modelId="{88EAF2A6-50EE-4514-ABEC-BC6709A67D46}" type="presParOf" srcId="{76FA2749-428F-46E5-A3F1-23695859AE1F}" destId="{4AFB1881-670D-4A90-BA1E-FC908B6F56D6}" srcOrd="1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8FB83A8-E873-47C9-82B1-27A211D93664}" type="doc">
      <dgm:prSet loTypeId="urn:microsoft.com/office/officeart/2011/layout/ConvergingText" loCatId="process" qsTypeId="urn:microsoft.com/office/officeart/2005/8/quickstyle/simple1" qsCatId="simple" csTypeId="urn:microsoft.com/office/officeart/2005/8/colors/accent1_2" csCatId="accent1" phldr="1"/>
      <dgm:spPr/>
      <dgm:t>
        <a:bodyPr/>
        <a:lstStyle/>
        <a:p>
          <a:endParaRPr lang="en-IN"/>
        </a:p>
      </dgm:t>
    </dgm:pt>
    <dgm:pt modelId="{4E76D240-08BB-40FF-A16F-6C3E635E2C4E}">
      <dgm:prSet phldrT="[Text]"/>
      <dgm:spPr/>
      <dgm:t>
        <a:bodyPr/>
        <a:lstStyle/>
        <a:p>
          <a:r>
            <a:rPr lang="en-US" dirty="0"/>
            <a:t>Big Bang Model</a:t>
          </a:r>
          <a:endParaRPr lang="en-IN" dirty="0"/>
        </a:p>
      </dgm:t>
    </dgm:pt>
    <dgm:pt modelId="{8E0005A5-00C8-4012-AD0C-253954F58D09}" type="parTrans" cxnId="{4F0629A8-A108-47E7-89C8-7FCB01194698}">
      <dgm:prSet/>
      <dgm:spPr/>
      <dgm:t>
        <a:bodyPr/>
        <a:lstStyle/>
        <a:p>
          <a:endParaRPr lang="en-IN"/>
        </a:p>
      </dgm:t>
    </dgm:pt>
    <dgm:pt modelId="{76137310-A350-49F0-9E28-13B80B0BD7FE}" type="sibTrans" cxnId="{4F0629A8-A108-47E7-89C8-7FCB01194698}">
      <dgm:prSet/>
      <dgm:spPr/>
      <dgm:t>
        <a:bodyPr/>
        <a:lstStyle/>
        <a:p>
          <a:endParaRPr lang="en-IN"/>
        </a:p>
      </dgm:t>
    </dgm:pt>
    <dgm:pt modelId="{A6822072-A43D-4778-88FA-957E773D6696}">
      <dgm:prSet phldrT="[Text]"/>
      <dgm:spPr/>
      <dgm:t>
        <a:bodyPr/>
        <a:lstStyle/>
        <a:p>
          <a:r>
            <a:rPr lang="en-US" dirty="0"/>
            <a:t>Time</a:t>
          </a:r>
          <a:endParaRPr lang="en-IN" dirty="0"/>
        </a:p>
      </dgm:t>
    </dgm:pt>
    <dgm:pt modelId="{9CCBD844-7E9E-4976-939F-7E9D475C50A1}" type="parTrans" cxnId="{869C54CB-5CCE-470A-8970-6D455F28024E}">
      <dgm:prSet/>
      <dgm:spPr/>
      <dgm:t>
        <a:bodyPr/>
        <a:lstStyle/>
        <a:p>
          <a:endParaRPr lang="en-IN"/>
        </a:p>
      </dgm:t>
    </dgm:pt>
    <dgm:pt modelId="{5932F194-B00A-4C70-A882-2DEBD9DA8E3C}" type="sibTrans" cxnId="{869C54CB-5CCE-470A-8970-6D455F28024E}">
      <dgm:prSet/>
      <dgm:spPr/>
      <dgm:t>
        <a:bodyPr/>
        <a:lstStyle/>
        <a:p>
          <a:endParaRPr lang="en-IN"/>
        </a:p>
      </dgm:t>
    </dgm:pt>
    <dgm:pt modelId="{06574DC4-E789-4E25-B356-A09913CB3EFB}">
      <dgm:prSet phldrT="[Text]"/>
      <dgm:spPr/>
      <dgm:t>
        <a:bodyPr/>
        <a:lstStyle/>
        <a:p>
          <a:r>
            <a:rPr lang="en-US" dirty="0"/>
            <a:t>Resource</a:t>
          </a:r>
          <a:endParaRPr lang="en-IN" dirty="0"/>
        </a:p>
      </dgm:t>
    </dgm:pt>
    <dgm:pt modelId="{2FAF8BF1-D1FB-473A-AE89-DD0C4AD2630D}" type="parTrans" cxnId="{0C14EFD8-AC84-4281-A728-694A06FBB891}">
      <dgm:prSet/>
      <dgm:spPr/>
      <dgm:t>
        <a:bodyPr/>
        <a:lstStyle/>
        <a:p>
          <a:endParaRPr lang="en-IN"/>
        </a:p>
      </dgm:t>
    </dgm:pt>
    <dgm:pt modelId="{7E9A34E0-37FC-4BDC-B832-FBB31D000DEE}" type="sibTrans" cxnId="{0C14EFD8-AC84-4281-A728-694A06FBB891}">
      <dgm:prSet/>
      <dgm:spPr/>
      <dgm:t>
        <a:bodyPr/>
        <a:lstStyle/>
        <a:p>
          <a:endParaRPr lang="en-IN"/>
        </a:p>
      </dgm:t>
    </dgm:pt>
    <dgm:pt modelId="{A563C1A9-D597-47F9-BE62-412D0AE73862}">
      <dgm:prSet phldrT="[Text]"/>
      <dgm:spPr/>
      <dgm:t>
        <a:bodyPr/>
        <a:lstStyle/>
        <a:p>
          <a:r>
            <a:rPr lang="en-US" dirty="0"/>
            <a:t>Effort</a:t>
          </a:r>
          <a:endParaRPr lang="en-IN" dirty="0"/>
        </a:p>
      </dgm:t>
    </dgm:pt>
    <dgm:pt modelId="{F195C995-26C3-4AEA-8DA8-C4C4074E80A8}" type="parTrans" cxnId="{A4279691-3E9C-4E6E-B82F-875430DBF2E7}">
      <dgm:prSet/>
      <dgm:spPr/>
      <dgm:t>
        <a:bodyPr/>
        <a:lstStyle/>
        <a:p>
          <a:endParaRPr lang="en-IN"/>
        </a:p>
      </dgm:t>
    </dgm:pt>
    <dgm:pt modelId="{870864C8-941B-4316-AB28-6E8BD180D6FF}" type="sibTrans" cxnId="{A4279691-3E9C-4E6E-B82F-875430DBF2E7}">
      <dgm:prSet/>
      <dgm:spPr/>
      <dgm:t>
        <a:bodyPr/>
        <a:lstStyle/>
        <a:p>
          <a:endParaRPr lang="en-IN"/>
        </a:p>
      </dgm:t>
    </dgm:pt>
    <dgm:pt modelId="{750C0D01-80FC-4339-BCD6-564F9CB638A4}" type="pres">
      <dgm:prSet presAssocID="{A8FB83A8-E873-47C9-82B1-27A211D93664}" presName="Name0" presStyleCnt="0">
        <dgm:presLayoutVars>
          <dgm:chMax/>
          <dgm:chPref val="1"/>
          <dgm:dir/>
          <dgm:animOne val="branch"/>
          <dgm:animLvl val="lvl"/>
          <dgm:resizeHandles/>
        </dgm:presLayoutVars>
      </dgm:prSet>
      <dgm:spPr/>
    </dgm:pt>
    <dgm:pt modelId="{1E656690-FA93-4DB2-A772-C62056AE3346}" type="pres">
      <dgm:prSet presAssocID="{4E76D240-08BB-40FF-A16F-6C3E635E2C4E}" presName="composite" presStyleCnt="0"/>
      <dgm:spPr/>
    </dgm:pt>
    <dgm:pt modelId="{A73ED756-4759-4EEF-BB94-C0CA7B0FA93D}" type="pres">
      <dgm:prSet presAssocID="{4E76D240-08BB-40FF-A16F-6C3E635E2C4E}" presName="ParentAccent1" presStyleLbl="alignNode1" presStyleIdx="0" presStyleCnt="34"/>
      <dgm:spPr/>
    </dgm:pt>
    <dgm:pt modelId="{5AC81C27-44B8-464D-B095-B4F9F282A02A}" type="pres">
      <dgm:prSet presAssocID="{4E76D240-08BB-40FF-A16F-6C3E635E2C4E}" presName="ParentAccent2" presStyleLbl="alignNode1" presStyleIdx="1" presStyleCnt="34"/>
      <dgm:spPr/>
    </dgm:pt>
    <dgm:pt modelId="{586198F9-68FE-4346-A9E1-6371D95A93FC}" type="pres">
      <dgm:prSet presAssocID="{4E76D240-08BB-40FF-A16F-6C3E635E2C4E}" presName="ParentAccent3" presStyleLbl="alignNode1" presStyleIdx="2" presStyleCnt="34"/>
      <dgm:spPr/>
    </dgm:pt>
    <dgm:pt modelId="{F780FAFF-426D-4CE7-AA33-E10028B45E32}" type="pres">
      <dgm:prSet presAssocID="{4E76D240-08BB-40FF-A16F-6C3E635E2C4E}" presName="ParentAccent4" presStyleLbl="alignNode1" presStyleIdx="3" presStyleCnt="34"/>
      <dgm:spPr/>
    </dgm:pt>
    <dgm:pt modelId="{F1396FEE-9635-4DCB-B943-B51CFF9803D9}" type="pres">
      <dgm:prSet presAssocID="{4E76D240-08BB-40FF-A16F-6C3E635E2C4E}" presName="ParentAccent5" presStyleLbl="alignNode1" presStyleIdx="4" presStyleCnt="34"/>
      <dgm:spPr/>
    </dgm:pt>
    <dgm:pt modelId="{7691DD0B-5DF5-4577-BC2A-D0A93B70BA8A}" type="pres">
      <dgm:prSet presAssocID="{4E76D240-08BB-40FF-A16F-6C3E635E2C4E}" presName="ParentAccent6" presStyleLbl="alignNode1" presStyleIdx="5" presStyleCnt="34"/>
      <dgm:spPr/>
    </dgm:pt>
    <dgm:pt modelId="{207408DE-0EC1-4F68-8A01-D1E9EE6A0F2A}" type="pres">
      <dgm:prSet presAssocID="{4E76D240-08BB-40FF-A16F-6C3E635E2C4E}" presName="ParentAccent7" presStyleLbl="alignNode1" presStyleIdx="6" presStyleCnt="34"/>
      <dgm:spPr/>
    </dgm:pt>
    <dgm:pt modelId="{8364226F-84C8-4DD7-90EE-06C6AA7017CB}" type="pres">
      <dgm:prSet presAssocID="{4E76D240-08BB-40FF-A16F-6C3E635E2C4E}" presName="ParentAccent8" presStyleLbl="alignNode1" presStyleIdx="7" presStyleCnt="34"/>
      <dgm:spPr/>
    </dgm:pt>
    <dgm:pt modelId="{2AF115BB-729D-45EB-83B0-BFE63315CBDA}" type="pres">
      <dgm:prSet presAssocID="{4E76D240-08BB-40FF-A16F-6C3E635E2C4E}" presName="ParentAccent9" presStyleLbl="alignNode1" presStyleIdx="8" presStyleCnt="34"/>
      <dgm:spPr/>
    </dgm:pt>
    <dgm:pt modelId="{3C853927-D00C-4C2F-BE9B-9087222C2F71}" type="pres">
      <dgm:prSet presAssocID="{4E76D240-08BB-40FF-A16F-6C3E635E2C4E}" presName="ParentAccent10" presStyleLbl="alignNode1" presStyleIdx="9" presStyleCnt="34"/>
      <dgm:spPr/>
    </dgm:pt>
    <dgm:pt modelId="{16C3E673-A8D8-4DEF-A4DA-A21696998D04}" type="pres">
      <dgm:prSet presAssocID="{4E76D240-08BB-40FF-A16F-6C3E635E2C4E}" presName="Parent" presStyleLbl="alignNode1" presStyleIdx="10" presStyleCnt="34">
        <dgm:presLayoutVars>
          <dgm:chMax val="5"/>
          <dgm:chPref val="3"/>
          <dgm:bulletEnabled val="1"/>
        </dgm:presLayoutVars>
      </dgm:prSet>
      <dgm:spPr/>
    </dgm:pt>
    <dgm:pt modelId="{55028555-E79B-40D5-AF7F-5205E79BB910}" type="pres">
      <dgm:prSet presAssocID="{A6822072-A43D-4778-88FA-957E773D6696}" presName="Child1Accent1" presStyleLbl="alignNode1" presStyleIdx="11" presStyleCnt="34"/>
      <dgm:spPr/>
    </dgm:pt>
    <dgm:pt modelId="{4A50581D-545D-47DD-81B5-D13D793D9530}" type="pres">
      <dgm:prSet presAssocID="{A6822072-A43D-4778-88FA-957E773D6696}" presName="Child1Accent2" presStyleLbl="alignNode1" presStyleIdx="12" presStyleCnt="34"/>
      <dgm:spPr/>
    </dgm:pt>
    <dgm:pt modelId="{B3448FCB-E492-4F92-A86F-5F950AA2FAD3}" type="pres">
      <dgm:prSet presAssocID="{A6822072-A43D-4778-88FA-957E773D6696}" presName="Child1Accent3" presStyleLbl="alignNode1" presStyleIdx="13" presStyleCnt="34"/>
      <dgm:spPr/>
    </dgm:pt>
    <dgm:pt modelId="{4A6DA0E4-8FFD-437C-8AAF-3B5500B53A3B}" type="pres">
      <dgm:prSet presAssocID="{A6822072-A43D-4778-88FA-957E773D6696}" presName="Child1Accent4" presStyleLbl="alignNode1" presStyleIdx="14" presStyleCnt="34"/>
      <dgm:spPr/>
    </dgm:pt>
    <dgm:pt modelId="{7C1CD15B-DB31-44BD-8FB6-4BCE657CB557}" type="pres">
      <dgm:prSet presAssocID="{A6822072-A43D-4778-88FA-957E773D6696}" presName="Child1Accent5" presStyleLbl="alignNode1" presStyleIdx="15" presStyleCnt="34"/>
      <dgm:spPr/>
    </dgm:pt>
    <dgm:pt modelId="{96A794F8-4197-4C0E-A674-1F76E58CD8AE}" type="pres">
      <dgm:prSet presAssocID="{A6822072-A43D-4778-88FA-957E773D6696}" presName="Child1Accent6" presStyleLbl="alignNode1" presStyleIdx="16" presStyleCnt="34"/>
      <dgm:spPr/>
    </dgm:pt>
    <dgm:pt modelId="{5DAD0C8C-122F-4587-A3B4-CBCCEB9F31FF}" type="pres">
      <dgm:prSet presAssocID="{A6822072-A43D-4778-88FA-957E773D6696}" presName="Child1Accent7" presStyleLbl="alignNode1" presStyleIdx="17" presStyleCnt="34"/>
      <dgm:spPr/>
    </dgm:pt>
    <dgm:pt modelId="{3DDF7EA5-1E0B-4E2A-BB1D-59839CB7D95C}" type="pres">
      <dgm:prSet presAssocID="{A6822072-A43D-4778-88FA-957E773D6696}" presName="Child1Accent8" presStyleLbl="alignNode1" presStyleIdx="18" presStyleCnt="34"/>
      <dgm:spPr/>
    </dgm:pt>
    <dgm:pt modelId="{8FB6FE56-402B-4033-85D8-C9CD7F6313C1}" type="pres">
      <dgm:prSet presAssocID="{A6822072-A43D-4778-88FA-957E773D6696}" presName="Child1Accent9" presStyleLbl="alignNode1" presStyleIdx="19" presStyleCnt="34"/>
      <dgm:spPr/>
    </dgm:pt>
    <dgm:pt modelId="{5E4823D3-430E-4024-8A71-B824B0560FA5}" type="pres">
      <dgm:prSet presAssocID="{A6822072-A43D-4778-88FA-957E773D6696}" presName="Child1" presStyleLbl="revTx" presStyleIdx="0" presStyleCnt="3">
        <dgm:presLayoutVars>
          <dgm:chMax/>
          <dgm:chPref val="0"/>
          <dgm:bulletEnabled val="1"/>
        </dgm:presLayoutVars>
      </dgm:prSet>
      <dgm:spPr/>
    </dgm:pt>
    <dgm:pt modelId="{35EA3125-E07A-4E94-8739-26C48F537DE8}" type="pres">
      <dgm:prSet presAssocID="{06574DC4-E789-4E25-B356-A09913CB3EFB}" presName="Child2Accent1" presStyleLbl="alignNode1" presStyleIdx="20" presStyleCnt="34"/>
      <dgm:spPr/>
    </dgm:pt>
    <dgm:pt modelId="{05F08B74-C5DE-4CDE-A19C-EDE65A299D3D}" type="pres">
      <dgm:prSet presAssocID="{06574DC4-E789-4E25-B356-A09913CB3EFB}" presName="Child2Accent2" presStyleLbl="alignNode1" presStyleIdx="21" presStyleCnt="34"/>
      <dgm:spPr/>
    </dgm:pt>
    <dgm:pt modelId="{473BB44F-0ADE-4372-B122-C91597F81ADA}" type="pres">
      <dgm:prSet presAssocID="{06574DC4-E789-4E25-B356-A09913CB3EFB}" presName="Child2Accent3" presStyleLbl="alignNode1" presStyleIdx="22" presStyleCnt="34"/>
      <dgm:spPr/>
    </dgm:pt>
    <dgm:pt modelId="{EF0271C3-7117-449F-8585-A6DFE3996C11}" type="pres">
      <dgm:prSet presAssocID="{06574DC4-E789-4E25-B356-A09913CB3EFB}" presName="Child2Accent4" presStyleLbl="alignNode1" presStyleIdx="23" presStyleCnt="34"/>
      <dgm:spPr/>
    </dgm:pt>
    <dgm:pt modelId="{FABC6879-61A0-45D7-A765-A47886450F61}" type="pres">
      <dgm:prSet presAssocID="{06574DC4-E789-4E25-B356-A09913CB3EFB}" presName="Child2Accent5" presStyleLbl="alignNode1" presStyleIdx="24" presStyleCnt="34"/>
      <dgm:spPr/>
    </dgm:pt>
    <dgm:pt modelId="{EA3C0055-B2AE-4FB7-9E3C-56F9DBAC21FA}" type="pres">
      <dgm:prSet presAssocID="{06574DC4-E789-4E25-B356-A09913CB3EFB}" presName="Child2Accent6" presStyleLbl="alignNode1" presStyleIdx="25" presStyleCnt="34"/>
      <dgm:spPr/>
    </dgm:pt>
    <dgm:pt modelId="{B6FB084E-F5CA-4B87-A718-994305135061}" type="pres">
      <dgm:prSet presAssocID="{06574DC4-E789-4E25-B356-A09913CB3EFB}" presName="Child2Accent7" presStyleLbl="alignNode1" presStyleIdx="26" presStyleCnt="34"/>
      <dgm:spPr/>
    </dgm:pt>
    <dgm:pt modelId="{2923E9ED-CA58-4E3F-BE09-719D11A6A2DF}" type="pres">
      <dgm:prSet presAssocID="{06574DC4-E789-4E25-B356-A09913CB3EFB}" presName="Child2" presStyleLbl="revTx" presStyleIdx="1" presStyleCnt="3">
        <dgm:presLayoutVars>
          <dgm:chMax/>
          <dgm:chPref val="0"/>
          <dgm:bulletEnabled val="1"/>
        </dgm:presLayoutVars>
      </dgm:prSet>
      <dgm:spPr/>
    </dgm:pt>
    <dgm:pt modelId="{9D7C5E5C-C8A1-4A9A-BB17-063F367C97E9}" type="pres">
      <dgm:prSet presAssocID="{A563C1A9-D597-47F9-BE62-412D0AE73862}" presName="Child3Accent1" presStyleLbl="alignNode1" presStyleIdx="27" presStyleCnt="34"/>
      <dgm:spPr/>
    </dgm:pt>
    <dgm:pt modelId="{BEA60AA1-5CE6-4969-9FD4-6128BB3BBDA2}" type="pres">
      <dgm:prSet presAssocID="{A563C1A9-D597-47F9-BE62-412D0AE73862}" presName="Child3Accent2" presStyleLbl="alignNode1" presStyleIdx="28" presStyleCnt="34"/>
      <dgm:spPr/>
    </dgm:pt>
    <dgm:pt modelId="{91C15A98-BDB4-4820-B48A-DE95CED2A0BD}" type="pres">
      <dgm:prSet presAssocID="{A563C1A9-D597-47F9-BE62-412D0AE73862}" presName="Child3Accent3" presStyleLbl="alignNode1" presStyleIdx="29" presStyleCnt="34"/>
      <dgm:spPr/>
    </dgm:pt>
    <dgm:pt modelId="{4A732A5F-9084-4AB1-8D45-2DFE556E5323}" type="pres">
      <dgm:prSet presAssocID="{A563C1A9-D597-47F9-BE62-412D0AE73862}" presName="Child3Accent4" presStyleLbl="alignNode1" presStyleIdx="30" presStyleCnt="34"/>
      <dgm:spPr/>
    </dgm:pt>
    <dgm:pt modelId="{1D5023AF-AAFA-4DAF-A541-1320CA83E300}" type="pres">
      <dgm:prSet presAssocID="{A563C1A9-D597-47F9-BE62-412D0AE73862}" presName="Child3Accent5" presStyleLbl="alignNode1" presStyleIdx="31" presStyleCnt="34"/>
      <dgm:spPr/>
    </dgm:pt>
    <dgm:pt modelId="{C7EA6BB1-43BC-49C9-B218-3E5AA6BB3720}" type="pres">
      <dgm:prSet presAssocID="{A563C1A9-D597-47F9-BE62-412D0AE73862}" presName="Child3Accent6" presStyleLbl="alignNode1" presStyleIdx="32" presStyleCnt="34"/>
      <dgm:spPr/>
    </dgm:pt>
    <dgm:pt modelId="{BC2B793B-4CD9-4A5A-87AC-F480508B6F34}" type="pres">
      <dgm:prSet presAssocID="{A563C1A9-D597-47F9-BE62-412D0AE73862}" presName="Child3Accent7" presStyleLbl="alignNode1" presStyleIdx="33" presStyleCnt="34"/>
      <dgm:spPr/>
    </dgm:pt>
    <dgm:pt modelId="{6CB66672-14A1-470D-8A3E-FCC0AEC27449}" type="pres">
      <dgm:prSet presAssocID="{A563C1A9-D597-47F9-BE62-412D0AE73862}" presName="Child3" presStyleLbl="revTx" presStyleIdx="2" presStyleCnt="3">
        <dgm:presLayoutVars>
          <dgm:chMax/>
          <dgm:chPref val="0"/>
          <dgm:bulletEnabled val="1"/>
        </dgm:presLayoutVars>
      </dgm:prSet>
      <dgm:spPr/>
    </dgm:pt>
  </dgm:ptLst>
  <dgm:cxnLst>
    <dgm:cxn modelId="{1EB79766-9FFC-4CE4-B3B0-52D6F45630DF}" type="presOf" srcId="{4E76D240-08BB-40FF-A16F-6C3E635E2C4E}" destId="{16C3E673-A8D8-4DEF-A4DA-A21696998D04}" srcOrd="0" destOrd="0" presId="urn:microsoft.com/office/officeart/2011/layout/ConvergingText"/>
    <dgm:cxn modelId="{A4279691-3E9C-4E6E-B82F-875430DBF2E7}" srcId="{4E76D240-08BB-40FF-A16F-6C3E635E2C4E}" destId="{A563C1A9-D597-47F9-BE62-412D0AE73862}" srcOrd="2" destOrd="0" parTransId="{F195C995-26C3-4AEA-8DA8-C4C4074E80A8}" sibTransId="{870864C8-941B-4316-AB28-6E8BD180D6FF}"/>
    <dgm:cxn modelId="{C0EE379E-75F5-4241-B2DB-EB00E6077523}" type="presOf" srcId="{A563C1A9-D597-47F9-BE62-412D0AE73862}" destId="{6CB66672-14A1-470D-8A3E-FCC0AEC27449}" srcOrd="0" destOrd="0" presId="urn:microsoft.com/office/officeart/2011/layout/ConvergingText"/>
    <dgm:cxn modelId="{181FD0A7-84A3-4097-B40B-52CCBA8DD0BC}" type="presOf" srcId="{06574DC4-E789-4E25-B356-A09913CB3EFB}" destId="{2923E9ED-CA58-4E3F-BE09-719D11A6A2DF}" srcOrd="0" destOrd="0" presId="urn:microsoft.com/office/officeart/2011/layout/ConvergingText"/>
    <dgm:cxn modelId="{4F0629A8-A108-47E7-89C8-7FCB01194698}" srcId="{A8FB83A8-E873-47C9-82B1-27A211D93664}" destId="{4E76D240-08BB-40FF-A16F-6C3E635E2C4E}" srcOrd="0" destOrd="0" parTransId="{8E0005A5-00C8-4012-AD0C-253954F58D09}" sibTransId="{76137310-A350-49F0-9E28-13B80B0BD7FE}"/>
    <dgm:cxn modelId="{82A960BD-3CEC-410B-8684-5BC5B8A1176A}" type="presOf" srcId="{A8FB83A8-E873-47C9-82B1-27A211D93664}" destId="{750C0D01-80FC-4339-BCD6-564F9CB638A4}" srcOrd="0" destOrd="0" presId="urn:microsoft.com/office/officeart/2011/layout/ConvergingText"/>
    <dgm:cxn modelId="{869C54CB-5CCE-470A-8970-6D455F28024E}" srcId="{4E76D240-08BB-40FF-A16F-6C3E635E2C4E}" destId="{A6822072-A43D-4778-88FA-957E773D6696}" srcOrd="0" destOrd="0" parTransId="{9CCBD844-7E9E-4976-939F-7E9D475C50A1}" sibTransId="{5932F194-B00A-4C70-A882-2DEBD9DA8E3C}"/>
    <dgm:cxn modelId="{B66D25CD-2731-4B9B-AB72-327550416233}" type="presOf" srcId="{A6822072-A43D-4778-88FA-957E773D6696}" destId="{5E4823D3-430E-4024-8A71-B824B0560FA5}" srcOrd="0" destOrd="0" presId="urn:microsoft.com/office/officeart/2011/layout/ConvergingText"/>
    <dgm:cxn modelId="{0C14EFD8-AC84-4281-A728-694A06FBB891}" srcId="{4E76D240-08BB-40FF-A16F-6C3E635E2C4E}" destId="{06574DC4-E789-4E25-B356-A09913CB3EFB}" srcOrd="1" destOrd="0" parTransId="{2FAF8BF1-D1FB-473A-AE89-DD0C4AD2630D}" sibTransId="{7E9A34E0-37FC-4BDC-B832-FBB31D000DEE}"/>
    <dgm:cxn modelId="{899B81DA-B431-42AB-A96D-AB5893813078}" type="presParOf" srcId="{750C0D01-80FC-4339-BCD6-564F9CB638A4}" destId="{1E656690-FA93-4DB2-A772-C62056AE3346}" srcOrd="0" destOrd="0" presId="urn:microsoft.com/office/officeart/2011/layout/ConvergingText"/>
    <dgm:cxn modelId="{1348B8DE-D627-4EE7-AAB2-6E56398FFC25}" type="presParOf" srcId="{1E656690-FA93-4DB2-A772-C62056AE3346}" destId="{A73ED756-4759-4EEF-BB94-C0CA7B0FA93D}" srcOrd="0" destOrd="0" presId="urn:microsoft.com/office/officeart/2011/layout/ConvergingText"/>
    <dgm:cxn modelId="{68975A57-EEED-4B26-B370-1EA594DC120E}" type="presParOf" srcId="{1E656690-FA93-4DB2-A772-C62056AE3346}" destId="{5AC81C27-44B8-464D-B095-B4F9F282A02A}" srcOrd="1" destOrd="0" presId="urn:microsoft.com/office/officeart/2011/layout/ConvergingText"/>
    <dgm:cxn modelId="{C6278F5F-B14A-4438-9ACB-F579AA6E322E}" type="presParOf" srcId="{1E656690-FA93-4DB2-A772-C62056AE3346}" destId="{586198F9-68FE-4346-A9E1-6371D95A93FC}" srcOrd="2" destOrd="0" presId="urn:microsoft.com/office/officeart/2011/layout/ConvergingText"/>
    <dgm:cxn modelId="{325B3766-5D36-4DF2-B1E3-B8181451B5BC}" type="presParOf" srcId="{1E656690-FA93-4DB2-A772-C62056AE3346}" destId="{F780FAFF-426D-4CE7-AA33-E10028B45E32}" srcOrd="3" destOrd="0" presId="urn:microsoft.com/office/officeart/2011/layout/ConvergingText"/>
    <dgm:cxn modelId="{D0A4A65F-82F4-4796-B783-791FF503E52E}" type="presParOf" srcId="{1E656690-FA93-4DB2-A772-C62056AE3346}" destId="{F1396FEE-9635-4DCB-B943-B51CFF9803D9}" srcOrd="4" destOrd="0" presId="urn:microsoft.com/office/officeart/2011/layout/ConvergingText"/>
    <dgm:cxn modelId="{E0AFDDDC-C5C5-4867-8B9B-E3EF5453C7E0}" type="presParOf" srcId="{1E656690-FA93-4DB2-A772-C62056AE3346}" destId="{7691DD0B-5DF5-4577-BC2A-D0A93B70BA8A}" srcOrd="5" destOrd="0" presId="urn:microsoft.com/office/officeart/2011/layout/ConvergingText"/>
    <dgm:cxn modelId="{0DBAAD3F-5F3B-44CC-9A2E-0C80E979BA81}" type="presParOf" srcId="{1E656690-FA93-4DB2-A772-C62056AE3346}" destId="{207408DE-0EC1-4F68-8A01-D1E9EE6A0F2A}" srcOrd="6" destOrd="0" presId="urn:microsoft.com/office/officeart/2011/layout/ConvergingText"/>
    <dgm:cxn modelId="{2E40E5A1-55DC-4D16-B8BF-27FA99FDC218}" type="presParOf" srcId="{1E656690-FA93-4DB2-A772-C62056AE3346}" destId="{8364226F-84C8-4DD7-90EE-06C6AA7017CB}" srcOrd="7" destOrd="0" presId="urn:microsoft.com/office/officeart/2011/layout/ConvergingText"/>
    <dgm:cxn modelId="{B66E66CB-1253-45D2-9D6A-AD48299B9423}" type="presParOf" srcId="{1E656690-FA93-4DB2-A772-C62056AE3346}" destId="{2AF115BB-729D-45EB-83B0-BFE63315CBDA}" srcOrd="8" destOrd="0" presId="urn:microsoft.com/office/officeart/2011/layout/ConvergingText"/>
    <dgm:cxn modelId="{05551680-C901-41ED-A082-67AE7342AA38}" type="presParOf" srcId="{1E656690-FA93-4DB2-A772-C62056AE3346}" destId="{3C853927-D00C-4C2F-BE9B-9087222C2F71}" srcOrd="9" destOrd="0" presId="urn:microsoft.com/office/officeart/2011/layout/ConvergingText"/>
    <dgm:cxn modelId="{3F5EB924-38C1-4930-8737-7FAEE0D2315F}" type="presParOf" srcId="{1E656690-FA93-4DB2-A772-C62056AE3346}" destId="{16C3E673-A8D8-4DEF-A4DA-A21696998D04}" srcOrd="10" destOrd="0" presId="urn:microsoft.com/office/officeart/2011/layout/ConvergingText"/>
    <dgm:cxn modelId="{5B6F9706-4AD5-409C-BF27-858170F1870C}" type="presParOf" srcId="{1E656690-FA93-4DB2-A772-C62056AE3346}" destId="{55028555-E79B-40D5-AF7F-5205E79BB910}" srcOrd="11" destOrd="0" presId="urn:microsoft.com/office/officeart/2011/layout/ConvergingText"/>
    <dgm:cxn modelId="{94793D2A-957F-4D8A-AEC2-11BA5C15B5DA}" type="presParOf" srcId="{1E656690-FA93-4DB2-A772-C62056AE3346}" destId="{4A50581D-545D-47DD-81B5-D13D793D9530}" srcOrd="12" destOrd="0" presId="urn:microsoft.com/office/officeart/2011/layout/ConvergingText"/>
    <dgm:cxn modelId="{72CB7418-DCD8-4FF2-B483-B75006BFA78E}" type="presParOf" srcId="{1E656690-FA93-4DB2-A772-C62056AE3346}" destId="{B3448FCB-E492-4F92-A86F-5F950AA2FAD3}" srcOrd="13" destOrd="0" presId="urn:microsoft.com/office/officeart/2011/layout/ConvergingText"/>
    <dgm:cxn modelId="{AF7FF221-6A99-4EEE-BE20-CAB25894FD45}" type="presParOf" srcId="{1E656690-FA93-4DB2-A772-C62056AE3346}" destId="{4A6DA0E4-8FFD-437C-8AAF-3B5500B53A3B}" srcOrd="14" destOrd="0" presId="urn:microsoft.com/office/officeart/2011/layout/ConvergingText"/>
    <dgm:cxn modelId="{A0721F09-0471-4D4B-ABBE-0D6BB51D20ED}" type="presParOf" srcId="{1E656690-FA93-4DB2-A772-C62056AE3346}" destId="{7C1CD15B-DB31-44BD-8FB6-4BCE657CB557}" srcOrd="15" destOrd="0" presId="urn:microsoft.com/office/officeart/2011/layout/ConvergingText"/>
    <dgm:cxn modelId="{8CD927ED-2F5E-4EB2-A8CE-3C684E7404AC}" type="presParOf" srcId="{1E656690-FA93-4DB2-A772-C62056AE3346}" destId="{96A794F8-4197-4C0E-A674-1F76E58CD8AE}" srcOrd="16" destOrd="0" presId="urn:microsoft.com/office/officeart/2011/layout/ConvergingText"/>
    <dgm:cxn modelId="{471D2C59-1F79-4986-8F45-AB04688F5D06}" type="presParOf" srcId="{1E656690-FA93-4DB2-A772-C62056AE3346}" destId="{5DAD0C8C-122F-4587-A3B4-CBCCEB9F31FF}" srcOrd="17" destOrd="0" presId="urn:microsoft.com/office/officeart/2011/layout/ConvergingText"/>
    <dgm:cxn modelId="{A286C1FD-E7C6-4C5D-9E13-28FB5D7F7BF0}" type="presParOf" srcId="{1E656690-FA93-4DB2-A772-C62056AE3346}" destId="{3DDF7EA5-1E0B-4E2A-BB1D-59839CB7D95C}" srcOrd="18" destOrd="0" presId="urn:microsoft.com/office/officeart/2011/layout/ConvergingText"/>
    <dgm:cxn modelId="{073FF9E0-CFEE-4CBC-8E54-5EB3EBA717B1}" type="presParOf" srcId="{1E656690-FA93-4DB2-A772-C62056AE3346}" destId="{8FB6FE56-402B-4033-85D8-C9CD7F6313C1}" srcOrd="19" destOrd="0" presId="urn:microsoft.com/office/officeart/2011/layout/ConvergingText"/>
    <dgm:cxn modelId="{7FD5E343-7537-4BE9-8DFC-DF74821B5065}" type="presParOf" srcId="{1E656690-FA93-4DB2-A772-C62056AE3346}" destId="{5E4823D3-430E-4024-8A71-B824B0560FA5}" srcOrd="20" destOrd="0" presId="urn:microsoft.com/office/officeart/2011/layout/ConvergingText"/>
    <dgm:cxn modelId="{7B72D5E9-8791-4948-B045-A7773DE2F81E}" type="presParOf" srcId="{1E656690-FA93-4DB2-A772-C62056AE3346}" destId="{35EA3125-E07A-4E94-8739-26C48F537DE8}" srcOrd="21" destOrd="0" presId="urn:microsoft.com/office/officeart/2011/layout/ConvergingText"/>
    <dgm:cxn modelId="{98799041-2983-47C8-850A-1F4CAA76623A}" type="presParOf" srcId="{1E656690-FA93-4DB2-A772-C62056AE3346}" destId="{05F08B74-C5DE-4CDE-A19C-EDE65A299D3D}" srcOrd="22" destOrd="0" presId="urn:microsoft.com/office/officeart/2011/layout/ConvergingText"/>
    <dgm:cxn modelId="{436C2AD8-6728-4A0B-80BB-7B1F324B2447}" type="presParOf" srcId="{1E656690-FA93-4DB2-A772-C62056AE3346}" destId="{473BB44F-0ADE-4372-B122-C91597F81ADA}" srcOrd="23" destOrd="0" presId="urn:microsoft.com/office/officeart/2011/layout/ConvergingText"/>
    <dgm:cxn modelId="{E1198CBC-9C5E-4BA0-AC09-CD84290C2C58}" type="presParOf" srcId="{1E656690-FA93-4DB2-A772-C62056AE3346}" destId="{EF0271C3-7117-449F-8585-A6DFE3996C11}" srcOrd="24" destOrd="0" presId="urn:microsoft.com/office/officeart/2011/layout/ConvergingText"/>
    <dgm:cxn modelId="{1D96C88E-AA5F-4934-ABAE-05DE41A35A2E}" type="presParOf" srcId="{1E656690-FA93-4DB2-A772-C62056AE3346}" destId="{FABC6879-61A0-45D7-A765-A47886450F61}" srcOrd="25" destOrd="0" presId="urn:microsoft.com/office/officeart/2011/layout/ConvergingText"/>
    <dgm:cxn modelId="{4CCEF908-97DD-4D35-8E60-BB305EBDC004}" type="presParOf" srcId="{1E656690-FA93-4DB2-A772-C62056AE3346}" destId="{EA3C0055-B2AE-4FB7-9E3C-56F9DBAC21FA}" srcOrd="26" destOrd="0" presId="urn:microsoft.com/office/officeart/2011/layout/ConvergingText"/>
    <dgm:cxn modelId="{CE469943-55B4-4878-8D9F-208D7A46F662}" type="presParOf" srcId="{1E656690-FA93-4DB2-A772-C62056AE3346}" destId="{B6FB084E-F5CA-4B87-A718-994305135061}" srcOrd="27" destOrd="0" presId="urn:microsoft.com/office/officeart/2011/layout/ConvergingText"/>
    <dgm:cxn modelId="{57D2F8DE-820D-4332-A880-6F9BF601E061}" type="presParOf" srcId="{1E656690-FA93-4DB2-A772-C62056AE3346}" destId="{2923E9ED-CA58-4E3F-BE09-719D11A6A2DF}" srcOrd="28" destOrd="0" presId="urn:microsoft.com/office/officeart/2011/layout/ConvergingText"/>
    <dgm:cxn modelId="{8D30E298-8251-468F-A2AD-AF6720AEAD9B}" type="presParOf" srcId="{1E656690-FA93-4DB2-A772-C62056AE3346}" destId="{9D7C5E5C-C8A1-4A9A-BB17-063F367C97E9}" srcOrd="29" destOrd="0" presId="urn:microsoft.com/office/officeart/2011/layout/ConvergingText"/>
    <dgm:cxn modelId="{94C13BFA-81BC-4C09-8053-303935BC219A}" type="presParOf" srcId="{1E656690-FA93-4DB2-A772-C62056AE3346}" destId="{BEA60AA1-5CE6-4969-9FD4-6128BB3BBDA2}" srcOrd="30" destOrd="0" presId="urn:microsoft.com/office/officeart/2011/layout/ConvergingText"/>
    <dgm:cxn modelId="{AD9D1A3A-44FB-4613-A250-3A4193292BCC}" type="presParOf" srcId="{1E656690-FA93-4DB2-A772-C62056AE3346}" destId="{91C15A98-BDB4-4820-B48A-DE95CED2A0BD}" srcOrd="31" destOrd="0" presId="urn:microsoft.com/office/officeart/2011/layout/ConvergingText"/>
    <dgm:cxn modelId="{5C7018E0-6333-43D5-A82A-8A2A7FA2B525}" type="presParOf" srcId="{1E656690-FA93-4DB2-A772-C62056AE3346}" destId="{4A732A5F-9084-4AB1-8D45-2DFE556E5323}" srcOrd="32" destOrd="0" presId="urn:microsoft.com/office/officeart/2011/layout/ConvergingText"/>
    <dgm:cxn modelId="{5E6AFFA5-F636-43F9-89D8-1555C163E4DC}" type="presParOf" srcId="{1E656690-FA93-4DB2-A772-C62056AE3346}" destId="{1D5023AF-AAFA-4DAF-A541-1320CA83E300}" srcOrd="33" destOrd="0" presId="urn:microsoft.com/office/officeart/2011/layout/ConvergingText"/>
    <dgm:cxn modelId="{8ABCFDDA-9545-401E-8DCD-4C37B8BD7722}" type="presParOf" srcId="{1E656690-FA93-4DB2-A772-C62056AE3346}" destId="{C7EA6BB1-43BC-49C9-B218-3E5AA6BB3720}" srcOrd="34" destOrd="0" presId="urn:microsoft.com/office/officeart/2011/layout/ConvergingText"/>
    <dgm:cxn modelId="{D5512E78-6A34-416A-8584-445FFFA07C29}" type="presParOf" srcId="{1E656690-FA93-4DB2-A772-C62056AE3346}" destId="{BC2B793B-4CD9-4A5A-87AC-F480508B6F34}" srcOrd="35" destOrd="0" presId="urn:microsoft.com/office/officeart/2011/layout/ConvergingText"/>
    <dgm:cxn modelId="{A205EEE8-4278-4F17-9995-C80BA44BF214}" type="presParOf" srcId="{1E656690-FA93-4DB2-A772-C62056AE3346}" destId="{6CB66672-14A1-470D-8A3E-FCC0AEC27449}" srcOrd="36" destOrd="0" presId="urn:microsoft.com/office/officeart/2011/layout/ConvergingTex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43BD4ED-A15E-4DE5-B20D-28857C906556}" type="doc">
      <dgm:prSet loTypeId="urn:microsoft.com/office/officeart/2005/8/layout/vList2" loCatId="list" qsTypeId="urn:microsoft.com/office/officeart/2005/8/quickstyle/simple4" qsCatId="simple" csTypeId="urn:microsoft.com/office/officeart/2005/8/colors/colorful5" csCatId="colorful"/>
      <dgm:spPr/>
      <dgm:t>
        <a:bodyPr/>
        <a:lstStyle/>
        <a:p>
          <a:endParaRPr lang="en-US"/>
        </a:p>
      </dgm:t>
    </dgm:pt>
    <dgm:pt modelId="{DA1425D5-8BD6-4013-B90C-D17D5C57EA7F}">
      <dgm:prSet/>
      <dgm:spPr/>
      <dgm:t>
        <a:bodyPr/>
        <a:lstStyle/>
        <a:p>
          <a:r>
            <a:rPr lang="en-US"/>
            <a:t>Project Goals – Project Charter</a:t>
          </a:r>
        </a:p>
      </dgm:t>
    </dgm:pt>
    <dgm:pt modelId="{B8D9C5E3-7655-4608-B4BC-F20CFEFA3C66}" type="parTrans" cxnId="{DB0C1754-8B02-424E-9EFF-A0790EE62A0E}">
      <dgm:prSet/>
      <dgm:spPr/>
      <dgm:t>
        <a:bodyPr/>
        <a:lstStyle/>
        <a:p>
          <a:endParaRPr lang="en-US"/>
        </a:p>
      </dgm:t>
    </dgm:pt>
    <dgm:pt modelId="{B356078A-21E8-4232-8F3C-7134B15A5353}" type="sibTrans" cxnId="{DB0C1754-8B02-424E-9EFF-A0790EE62A0E}">
      <dgm:prSet/>
      <dgm:spPr/>
      <dgm:t>
        <a:bodyPr/>
        <a:lstStyle/>
        <a:p>
          <a:endParaRPr lang="en-US"/>
        </a:p>
      </dgm:t>
    </dgm:pt>
    <dgm:pt modelId="{D8039444-40E0-42E7-AA20-5B45510219AA}">
      <dgm:prSet/>
      <dgm:spPr/>
      <dgm:t>
        <a:bodyPr/>
        <a:lstStyle/>
        <a:p>
          <a:r>
            <a:rPr lang="en-US"/>
            <a:t>Project Scope  </a:t>
          </a:r>
        </a:p>
      </dgm:t>
    </dgm:pt>
    <dgm:pt modelId="{B896EC50-F405-4271-AD92-AC5D857090D3}" type="parTrans" cxnId="{F151A937-148C-404A-8BAE-1F8FA38F6468}">
      <dgm:prSet/>
      <dgm:spPr/>
      <dgm:t>
        <a:bodyPr/>
        <a:lstStyle/>
        <a:p>
          <a:endParaRPr lang="en-US"/>
        </a:p>
      </dgm:t>
    </dgm:pt>
    <dgm:pt modelId="{080634E0-98FA-415D-BBF1-594AC179C7DF}" type="sibTrans" cxnId="{F151A937-148C-404A-8BAE-1F8FA38F6468}">
      <dgm:prSet/>
      <dgm:spPr/>
      <dgm:t>
        <a:bodyPr/>
        <a:lstStyle/>
        <a:p>
          <a:endParaRPr lang="en-US"/>
        </a:p>
      </dgm:t>
    </dgm:pt>
    <dgm:pt modelId="{DB160565-E036-465C-AA17-594619B86AE7}">
      <dgm:prSet/>
      <dgm:spPr/>
      <dgm:t>
        <a:bodyPr/>
        <a:lstStyle/>
        <a:p>
          <a:r>
            <a:rPr lang="en-US"/>
            <a:t>Milestone &amp; Major Deliverables</a:t>
          </a:r>
        </a:p>
      </dgm:t>
    </dgm:pt>
    <dgm:pt modelId="{B22E068F-101D-4B5C-9914-C72277CF0026}" type="parTrans" cxnId="{8243FCAA-252F-4E9B-97F6-6F140FD05BA8}">
      <dgm:prSet/>
      <dgm:spPr/>
      <dgm:t>
        <a:bodyPr/>
        <a:lstStyle/>
        <a:p>
          <a:endParaRPr lang="en-US"/>
        </a:p>
      </dgm:t>
    </dgm:pt>
    <dgm:pt modelId="{16B96C08-DE00-4F20-956B-51EC9F43DEA9}" type="sibTrans" cxnId="{8243FCAA-252F-4E9B-97F6-6F140FD05BA8}">
      <dgm:prSet/>
      <dgm:spPr/>
      <dgm:t>
        <a:bodyPr/>
        <a:lstStyle/>
        <a:p>
          <a:endParaRPr lang="en-US"/>
        </a:p>
      </dgm:t>
    </dgm:pt>
    <dgm:pt modelId="{F8E59393-3BBB-4B8C-9750-B8E1405F7977}">
      <dgm:prSet/>
      <dgm:spPr/>
      <dgm:t>
        <a:bodyPr/>
        <a:lstStyle/>
        <a:p>
          <a:r>
            <a:rPr lang="en-US"/>
            <a:t>Work Breakdown Structure</a:t>
          </a:r>
        </a:p>
      </dgm:t>
    </dgm:pt>
    <dgm:pt modelId="{14712776-9BCE-47AD-A729-7A8D7D36748B}" type="parTrans" cxnId="{C1529295-A1D6-4C28-BA2F-516DBC853703}">
      <dgm:prSet/>
      <dgm:spPr/>
      <dgm:t>
        <a:bodyPr/>
        <a:lstStyle/>
        <a:p>
          <a:endParaRPr lang="en-US"/>
        </a:p>
      </dgm:t>
    </dgm:pt>
    <dgm:pt modelId="{3CAE8D1D-8109-46F0-BFCD-A0C758D199A0}" type="sibTrans" cxnId="{C1529295-A1D6-4C28-BA2F-516DBC853703}">
      <dgm:prSet/>
      <dgm:spPr/>
      <dgm:t>
        <a:bodyPr/>
        <a:lstStyle/>
        <a:p>
          <a:endParaRPr lang="en-US"/>
        </a:p>
      </dgm:t>
    </dgm:pt>
    <dgm:pt modelId="{96D03824-9192-4478-B3A1-6527760FBA79}">
      <dgm:prSet/>
      <dgm:spPr/>
      <dgm:t>
        <a:bodyPr/>
        <a:lstStyle/>
        <a:p>
          <a:r>
            <a:rPr lang="en-US"/>
            <a:t>Budget</a:t>
          </a:r>
        </a:p>
      </dgm:t>
    </dgm:pt>
    <dgm:pt modelId="{01796E42-67C1-421D-9319-57F16FBDA18D}" type="parTrans" cxnId="{F9E3EE9F-22AD-4364-BE47-EFC3BFE99426}">
      <dgm:prSet/>
      <dgm:spPr/>
      <dgm:t>
        <a:bodyPr/>
        <a:lstStyle/>
        <a:p>
          <a:endParaRPr lang="en-US"/>
        </a:p>
      </dgm:t>
    </dgm:pt>
    <dgm:pt modelId="{6D1EFFE6-E5C6-4682-AFB3-34F1AC1F7D52}" type="sibTrans" cxnId="{F9E3EE9F-22AD-4364-BE47-EFC3BFE99426}">
      <dgm:prSet/>
      <dgm:spPr/>
      <dgm:t>
        <a:bodyPr/>
        <a:lstStyle/>
        <a:p>
          <a:endParaRPr lang="en-US"/>
        </a:p>
      </dgm:t>
    </dgm:pt>
    <dgm:pt modelId="{AEDEFC2B-2851-4C50-A871-01E91D07CD96}">
      <dgm:prSet/>
      <dgm:spPr/>
      <dgm:t>
        <a:bodyPr/>
        <a:lstStyle/>
        <a:p>
          <a:r>
            <a:rPr lang="en-US"/>
            <a:t>Human Resource Plan</a:t>
          </a:r>
        </a:p>
      </dgm:t>
    </dgm:pt>
    <dgm:pt modelId="{0A03B1D2-E20E-486D-9329-244A06F69F85}" type="parTrans" cxnId="{2EEB3492-9CC0-45B3-A476-4C111163E4F2}">
      <dgm:prSet/>
      <dgm:spPr/>
      <dgm:t>
        <a:bodyPr/>
        <a:lstStyle/>
        <a:p>
          <a:endParaRPr lang="en-US"/>
        </a:p>
      </dgm:t>
    </dgm:pt>
    <dgm:pt modelId="{D501A9C1-6DD1-4607-A4D9-9F597CEA53E3}" type="sibTrans" cxnId="{2EEB3492-9CC0-45B3-A476-4C111163E4F2}">
      <dgm:prSet/>
      <dgm:spPr/>
      <dgm:t>
        <a:bodyPr/>
        <a:lstStyle/>
        <a:p>
          <a:endParaRPr lang="en-US"/>
        </a:p>
      </dgm:t>
    </dgm:pt>
    <dgm:pt modelId="{DC1D5ADC-8457-492F-BA3C-99BDFBF2AE12}">
      <dgm:prSet/>
      <dgm:spPr/>
      <dgm:t>
        <a:bodyPr/>
        <a:lstStyle/>
        <a:p>
          <a:r>
            <a:rPr lang="en-US"/>
            <a:t>Risk Management Plan</a:t>
          </a:r>
        </a:p>
      </dgm:t>
    </dgm:pt>
    <dgm:pt modelId="{EB380A3B-D3A4-4DFA-852C-D6E6658CF404}" type="parTrans" cxnId="{AF709CE9-7605-4D35-8354-0AE2B49FF296}">
      <dgm:prSet/>
      <dgm:spPr/>
      <dgm:t>
        <a:bodyPr/>
        <a:lstStyle/>
        <a:p>
          <a:endParaRPr lang="en-US"/>
        </a:p>
      </dgm:t>
    </dgm:pt>
    <dgm:pt modelId="{272B92C0-C062-4A25-87A5-2E1F92F16B70}" type="sibTrans" cxnId="{AF709CE9-7605-4D35-8354-0AE2B49FF296}">
      <dgm:prSet/>
      <dgm:spPr/>
      <dgm:t>
        <a:bodyPr/>
        <a:lstStyle/>
        <a:p>
          <a:endParaRPr lang="en-US"/>
        </a:p>
      </dgm:t>
    </dgm:pt>
    <dgm:pt modelId="{E23BD8D0-F6C6-43DD-A014-06EB11E26EEE}">
      <dgm:prSet/>
      <dgm:spPr/>
      <dgm:t>
        <a:bodyPr/>
        <a:lstStyle/>
        <a:p>
          <a:r>
            <a:rPr lang="en-US"/>
            <a:t>Communication Plan</a:t>
          </a:r>
        </a:p>
      </dgm:t>
    </dgm:pt>
    <dgm:pt modelId="{B495F0C0-F6AD-4774-8915-695486275A75}" type="parTrans" cxnId="{D961B89B-BFEB-4A5A-AB40-107CC9DF980E}">
      <dgm:prSet/>
      <dgm:spPr/>
      <dgm:t>
        <a:bodyPr/>
        <a:lstStyle/>
        <a:p>
          <a:endParaRPr lang="en-US"/>
        </a:p>
      </dgm:t>
    </dgm:pt>
    <dgm:pt modelId="{BE88A6F9-22BD-4144-A955-4B83D486BE81}" type="sibTrans" cxnId="{D961B89B-BFEB-4A5A-AB40-107CC9DF980E}">
      <dgm:prSet/>
      <dgm:spPr/>
      <dgm:t>
        <a:bodyPr/>
        <a:lstStyle/>
        <a:p>
          <a:endParaRPr lang="en-US"/>
        </a:p>
      </dgm:t>
    </dgm:pt>
    <dgm:pt modelId="{0FAD4629-754D-4DF3-9418-BDE4B1EFBA8C}">
      <dgm:prSet/>
      <dgm:spPr/>
      <dgm:t>
        <a:bodyPr/>
        <a:lstStyle/>
        <a:p>
          <a:r>
            <a:rPr lang="en-US"/>
            <a:t>Stakeholder Management</a:t>
          </a:r>
        </a:p>
      </dgm:t>
    </dgm:pt>
    <dgm:pt modelId="{27D476A1-FE40-45C0-9B28-EC5D35D9189C}" type="parTrans" cxnId="{D9642FED-4D0E-4E29-A732-885E1450A6EC}">
      <dgm:prSet/>
      <dgm:spPr/>
      <dgm:t>
        <a:bodyPr/>
        <a:lstStyle/>
        <a:p>
          <a:endParaRPr lang="en-US"/>
        </a:p>
      </dgm:t>
    </dgm:pt>
    <dgm:pt modelId="{8457CFA6-7E29-4572-9213-1E0AE2671207}" type="sibTrans" cxnId="{D9642FED-4D0E-4E29-A732-885E1450A6EC}">
      <dgm:prSet/>
      <dgm:spPr/>
      <dgm:t>
        <a:bodyPr/>
        <a:lstStyle/>
        <a:p>
          <a:endParaRPr lang="en-US"/>
        </a:p>
      </dgm:t>
    </dgm:pt>
    <dgm:pt modelId="{84794327-4ED3-4A88-BC4D-867227B65915}">
      <dgm:prSet/>
      <dgm:spPr/>
      <dgm:t>
        <a:bodyPr/>
        <a:lstStyle/>
        <a:p>
          <a:r>
            <a:rPr lang="en-US"/>
            <a:t>Change Management</a:t>
          </a:r>
        </a:p>
      </dgm:t>
    </dgm:pt>
    <dgm:pt modelId="{BE981702-A077-440D-BEC7-56F9D8DE12A4}" type="parTrans" cxnId="{521921F1-7392-4611-A2B2-E27205D4BFA5}">
      <dgm:prSet/>
      <dgm:spPr/>
      <dgm:t>
        <a:bodyPr/>
        <a:lstStyle/>
        <a:p>
          <a:endParaRPr lang="en-US"/>
        </a:p>
      </dgm:t>
    </dgm:pt>
    <dgm:pt modelId="{3D6ED15D-C96B-4A96-97C1-7D97C6BDAA04}" type="sibTrans" cxnId="{521921F1-7392-4611-A2B2-E27205D4BFA5}">
      <dgm:prSet/>
      <dgm:spPr/>
      <dgm:t>
        <a:bodyPr/>
        <a:lstStyle/>
        <a:p>
          <a:endParaRPr lang="en-US"/>
        </a:p>
      </dgm:t>
    </dgm:pt>
    <dgm:pt modelId="{2A22D0F7-516C-4171-80D0-EDEDE2725082}" type="pres">
      <dgm:prSet presAssocID="{243BD4ED-A15E-4DE5-B20D-28857C906556}" presName="linear" presStyleCnt="0">
        <dgm:presLayoutVars>
          <dgm:animLvl val="lvl"/>
          <dgm:resizeHandles val="exact"/>
        </dgm:presLayoutVars>
      </dgm:prSet>
      <dgm:spPr/>
    </dgm:pt>
    <dgm:pt modelId="{68E6D3A4-3749-478B-A672-7EB6764AB660}" type="pres">
      <dgm:prSet presAssocID="{DA1425D5-8BD6-4013-B90C-D17D5C57EA7F}" presName="parentText" presStyleLbl="node1" presStyleIdx="0" presStyleCnt="10">
        <dgm:presLayoutVars>
          <dgm:chMax val="0"/>
          <dgm:bulletEnabled val="1"/>
        </dgm:presLayoutVars>
      </dgm:prSet>
      <dgm:spPr/>
    </dgm:pt>
    <dgm:pt modelId="{8F4DAB79-788B-4F3C-8D7E-1B05ADB896AF}" type="pres">
      <dgm:prSet presAssocID="{B356078A-21E8-4232-8F3C-7134B15A5353}" presName="spacer" presStyleCnt="0"/>
      <dgm:spPr/>
    </dgm:pt>
    <dgm:pt modelId="{EBCDB698-F31E-4B4A-A149-2EBFE9ADBE2F}" type="pres">
      <dgm:prSet presAssocID="{D8039444-40E0-42E7-AA20-5B45510219AA}" presName="parentText" presStyleLbl="node1" presStyleIdx="1" presStyleCnt="10">
        <dgm:presLayoutVars>
          <dgm:chMax val="0"/>
          <dgm:bulletEnabled val="1"/>
        </dgm:presLayoutVars>
      </dgm:prSet>
      <dgm:spPr/>
    </dgm:pt>
    <dgm:pt modelId="{65308081-4B76-492E-B58C-601BDEA6F276}" type="pres">
      <dgm:prSet presAssocID="{080634E0-98FA-415D-BBF1-594AC179C7DF}" presName="spacer" presStyleCnt="0"/>
      <dgm:spPr/>
    </dgm:pt>
    <dgm:pt modelId="{B65C1D3B-1EBE-4B3F-9CDE-D3F733A6FCBC}" type="pres">
      <dgm:prSet presAssocID="{DB160565-E036-465C-AA17-594619B86AE7}" presName="parentText" presStyleLbl="node1" presStyleIdx="2" presStyleCnt="10">
        <dgm:presLayoutVars>
          <dgm:chMax val="0"/>
          <dgm:bulletEnabled val="1"/>
        </dgm:presLayoutVars>
      </dgm:prSet>
      <dgm:spPr/>
    </dgm:pt>
    <dgm:pt modelId="{28F4631F-D564-4116-A7F0-B971E79316D1}" type="pres">
      <dgm:prSet presAssocID="{16B96C08-DE00-4F20-956B-51EC9F43DEA9}" presName="spacer" presStyleCnt="0"/>
      <dgm:spPr/>
    </dgm:pt>
    <dgm:pt modelId="{5EEB1CD8-0211-4D95-935B-B087F4873EE4}" type="pres">
      <dgm:prSet presAssocID="{F8E59393-3BBB-4B8C-9750-B8E1405F7977}" presName="parentText" presStyleLbl="node1" presStyleIdx="3" presStyleCnt="10">
        <dgm:presLayoutVars>
          <dgm:chMax val="0"/>
          <dgm:bulletEnabled val="1"/>
        </dgm:presLayoutVars>
      </dgm:prSet>
      <dgm:spPr/>
    </dgm:pt>
    <dgm:pt modelId="{7FFFA523-540E-4FCF-BF6C-724AB51A3457}" type="pres">
      <dgm:prSet presAssocID="{3CAE8D1D-8109-46F0-BFCD-A0C758D199A0}" presName="spacer" presStyleCnt="0"/>
      <dgm:spPr/>
    </dgm:pt>
    <dgm:pt modelId="{75AB77DA-9EA8-4BFA-BAD5-10F7ABFBB4D1}" type="pres">
      <dgm:prSet presAssocID="{96D03824-9192-4478-B3A1-6527760FBA79}" presName="parentText" presStyleLbl="node1" presStyleIdx="4" presStyleCnt="10">
        <dgm:presLayoutVars>
          <dgm:chMax val="0"/>
          <dgm:bulletEnabled val="1"/>
        </dgm:presLayoutVars>
      </dgm:prSet>
      <dgm:spPr/>
    </dgm:pt>
    <dgm:pt modelId="{43D08BE9-6337-43B6-8950-FA2BFFF51112}" type="pres">
      <dgm:prSet presAssocID="{6D1EFFE6-E5C6-4682-AFB3-34F1AC1F7D52}" presName="spacer" presStyleCnt="0"/>
      <dgm:spPr/>
    </dgm:pt>
    <dgm:pt modelId="{25D54961-8F05-439C-BD50-5478EA5E2982}" type="pres">
      <dgm:prSet presAssocID="{AEDEFC2B-2851-4C50-A871-01E91D07CD96}" presName="parentText" presStyleLbl="node1" presStyleIdx="5" presStyleCnt="10">
        <dgm:presLayoutVars>
          <dgm:chMax val="0"/>
          <dgm:bulletEnabled val="1"/>
        </dgm:presLayoutVars>
      </dgm:prSet>
      <dgm:spPr/>
    </dgm:pt>
    <dgm:pt modelId="{75D4989E-FB68-412C-A281-13299B326584}" type="pres">
      <dgm:prSet presAssocID="{D501A9C1-6DD1-4607-A4D9-9F597CEA53E3}" presName="spacer" presStyleCnt="0"/>
      <dgm:spPr/>
    </dgm:pt>
    <dgm:pt modelId="{0A4F9D03-D13C-4C42-8D5B-2455EC793A2C}" type="pres">
      <dgm:prSet presAssocID="{DC1D5ADC-8457-492F-BA3C-99BDFBF2AE12}" presName="parentText" presStyleLbl="node1" presStyleIdx="6" presStyleCnt="10">
        <dgm:presLayoutVars>
          <dgm:chMax val="0"/>
          <dgm:bulletEnabled val="1"/>
        </dgm:presLayoutVars>
      </dgm:prSet>
      <dgm:spPr/>
    </dgm:pt>
    <dgm:pt modelId="{55593A3D-F536-4375-9177-90DD87F53B42}" type="pres">
      <dgm:prSet presAssocID="{272B92C0-C062-4A25-87A5-2E1F92F16B70}" presName="spacer" presStyleCnt="0"/>
      <dgm:spPr/>
    </dgm:pt>
    <dgm:pt modelId="{5D0C541D-D94E-453F-891B-2C40490E65E4}" type="pres">
      <dgm:prSet presAssocID="{E23BD8D0-F6C6-43DD-A014-06EB11E26EEE}" presName="parentText" presStyleLbl="node1" presStyleIdx="7" presStyleCnt="10">
        <dgm:presLayoutVars>
          <dgm:chMax val="0"/>
          <dgm:bulletEnabled val="1"/>
        </dgm:presLayoutVars>
      </dgm:prSet>
      <dgm:spPr/>
    </dgm:pt>
    <dgm:pt modelId="{C141C885-F7C5-4598-BF11-152ACADB1ACB}" type="pres">
      <dgm:prSet presAssocID="{BE88A6F9-22BD-4144-A955-4B83D486BE81}" presName="spacer" presStyleCnt="0"/>
      <dgm:spPr/>
    </dgm:pt>
    <dgm:pt modelId="{023F7F8A-8D7E-48A7-93E6-BE11CBE1BBA5}" type="pres">
      <dgm:prSet presAssocID="{0FAD4629-754D-4DF3-9418-BDE4B1EFBA8C}" presName="parentText" presStyleLbl="node1" presStyleIdx="8" presStyleCnt="10">
        <dgm:presLayoutVars>
          <dgm:chMax val="0"/>
          <dgm:bulletEnabled val="1"/>
        </dgm:presLayoutVars>
      </dgm:prSet>
      <dgm:spPr/>
    </dgm:pt>
    <dgm:pt modelId="{26791CC4-98B6-434F-95DB-B9C8E7FAC0B8}" type="pres">
      <dgm:prSet presAssocID="{8457CFA6-7E29-4572-9213-1E0AE2671207}" presName="spacer" presStyleCnt="0"/>
      <dgm:spPr/>
    </dgm:pt>
    <dgm:pt modelId="{A4D6ECE6-F9DA-47B8-9209-E48D02A5AFB6}" type="pres">
      <dgm:prSet presAssocID="{84794327-4ED3-4A88-BC4D-867227B65915}" presName="parentText" presStyleLbl="node1" presStyleIdx="9" presStyleCnt="10">
        <dgm:presLayoutVars>
          <dgm:chMax val="0"/>
          <dgm:bulletEnabled val="1"/>
        </dgm:presLayoutVars>
      </dgm:prSet>
      <dgm:spPr/>
    </dgm:pt>
  </dgm:ptLst>
  <dgm:cxnLst>
    <dgm:cxn modelId="{1A06110E-1FA2-49C5-B2E1-5D0464DCFBE1}" type="presOf" srcId="{DB160565-E036-465C-AA17-594619B86AE7}" destId="{B65C1D3B-1EBE-4B3F-9CDE-D3F733A6FCBC}" srcOrd="0" destOrd="0" presId="urn:microsoft.com/office/officeart/2005/8/layout/vList2"/>
    <dgm:cxn modelId="{1F0E3425-B019-4A66-BF71-AC15732E3005}" type="presOf" srcId="{E23BD8D0-F6C6-43DD-A014-06EB11E26EEE}" destId="{5D0C541D-D94E-453F-891B-2C40490E65E4}" srcOrd="0" destOrd="0" presId="urn:microsoft.com/office/officeart/2005/8/layout/vList2"/>
    <dgm:cxn modelId="{F151A937-148C-404A-8BAE-1F8FA38F6468}" srcId="{243BD4ED-A15E-4DE5-B20D-28857C906556}" destId="{D8039444-40E0-42E7-AA20-5B45510219AA}" srcOrd="1" destOrd="0" parTransId="{B896EC50-F405-4271-AD92-AC5D857090D3}" sibTransId="{080634E0-98FA-415D-BBF1-594AC179C7DF}"/>
    <dgm:cxn modelId="{77EAB43D-E719-424C-8BFE-A055DEDAF81E}" type="presOf" srcId="{96D03824-9192-4478-B3A1-6527760FBA79}" destId="{75AB77DA-9EA8-4BFA-BAD5-10F7ABFBB4D1}" srcOrd="0" destOrd="0" presId="urn:microsoft.com/office/officeart/2005/8/layout/vList2"/>
    <dgm:cxn modelId="{DB0C1754-8B02-424E-9EFF-A0790EE62A0E}" srcId="{243BD4ED-A15E-4DE5-B20D-28857C906556}" destId="{DA1425D5-8BD6-4013-B90C-D17D5C57EA7F}" srcOrd="0" destOrd="0" parTransId="{B8D9C5E3-7655-4608-B4BC-F20CFEFA3C66}" sibTransId="{B356078A-21E8-4232-8F3C-7134B15A5353}"/>
    <dgm:cxn modelId="{ACC5BE57-3641-445F-ABD7-CB92C525FB3D}" type="presOf" srcId="{F8E59393-3BBB-4B8C-9750-B8E1405F7977}" destId="{5EEB1CD8-0211-4D95-935B-B087F4873EE4}" srcOrd="0" destOrd="0" presId="urn:microsoft.com/office/officeart/2005/8/layout/vList2"/>
    <dgm:cxn modelId="{4F69547D-94E7-4C5D-B277-C44D9AC8D4C2}" type="presOf" srcId="{84794327-4ED3-4A88-BC4D-867227B65915}" destId="{A4D6ECE6-F9DA-47B8-9209-E48D02A5AFB6}" srcOrd="0" destOrd="0" presId="urn:microsoft.com/office/officeart/2005/8/layout/vList2"/>
    <dgm:cxn modelId="{FF899991-C6F4-4F33-AC47-C90356A9A22F}" type="presOf" srcId="{0FAD4629-754D-4DF3-9418-BDE4B1EFBA8C}" destId="{023F7F8A-8D7E-48A7-93E6-BE11CBE1BBA5}" srcOrd="0" destOrd="0" presId="urn:microsoft.com/office/officeart/2005/8/layout/vList2"/>
    <dgm:cxn modelId="{2EEB3492-9CC0-45B3-A476-4C111163E4F2}" srcId="{243BD4ED-A15E-4DE5-B20D-28857C906556}" destId="{AEDEFC2B-2851-4C50-A871-01E91D07CD96}" srcOrd="5" destOrd="0" parTransId="{0A03B1D2-E20E-486D-9329-244A06F69F85}" sibTransId="{D501A9C1-6DD1-4607-A4D9-9F597CEA53E3}"/>
    <dgm:cxn modelId="{C1529295-A1D6-4C28-BA2F-516DBC853703}" srcId="{243BD4ED-A15E-4DE5-B20D-28857C906556}" destId="{F8E59393-3BBB-4B8C-9750-B8E1405F7977}" srcOrd="3" destOrd="0" parTransId="{14712776-9BCE-47AD-A729-7A8D7D36748B}" sibTransId="{3CAE8D1D-8109-46F0-BFCD-A0C758D199A0}"/>
    <dgm:cxn modelId="{D961B89B-BFEB-4A5A-AB40-107CC9DF980E}" srcId="{243BD4ED-A15E-4DE5-B20D-28857C906556}" destId="{E23BD8D0-F6C6-43DD-A014-06EB11E26EEE}" srcOrd="7" destOrd="0" parTransId="{B495F0C0-F6AD-4774-8915-695486275A75}" sibTransId="{BE88A6F9-22BD-4144-A955-4B83D486BE81}"/>
    <dgm:cxn modelId="{F9E3EE9F-22AD-4364-BE47-EFC3BFE99426}" srcId="{243BD4ED-A15E-4DE5-B20D-28857C906556}" destId="{96D03824-9192-4478-B3A1-6527760FBA79}" srcOrd="4" destOrd="0" parTransId="{01796E42-67C1-421D-9319-57F16FBDA18D}" sibTransId="{6D1EFFE6-E5C6-4682-AFB3-34F1AC1F7D52}"/>
    <dgm:cxn modelId="{8243FCAA-252F-4E9B-97F6-6F140FD05BA8}" srcId="{243BD4ED-A15E-4DE5-B20D-28857C906556}" destId="{DB160565-E036-465C-AA17-594619B86AE7}" srcOrd="2" destOrd="0" parTransId="{B22E068F-101D-4B5C-9914-C72277CF0026}" sibTransId="{16B96C08-DE00-4F20-956B-51EC9F43DEA9}"/>
    <dgm:cxn modelId="{BA7C87C2-AE24-47D6-B057-91B743F4C824}" type="presOf" srcId="{D8039444-40E0-42E7-AA20-5B45510219AA}" destId="{EBCDB698-F31E-4B4A-A149-2EBFE9ADBE2F}" srcOrd="0" destOrd="0" presId="urn:microsoft.com/office/officeart/2005/8/layout/vList2"/>
    <dgm:cxn modelId="{BCC6E0C3-D14E-4C02-8D70-6CA6E10DB2AD}" type="presOf" srcId="{AEDEFC2B-2851-4C50-A871-01E91D07CD96}" destId="{25D54961-8F05-439C-BD50-5478EA5E2982}" srcOrd="0" destOrd="0" presId="urn:microsoft.com/office/officeart/2005/8/layout/vList2"/>
    <dgm:cxn modelId="{1FEF26C5-3D1F-411C-8A12-10070647302B}" type="presOf" srcId="{DC1D5ADC-8457-492F-BA3C-99BDFBF2AE12}" destId="{0A4F9D03-D13C-4C42-8D5B-2455EC793A2C}" srcOrd="0" destOrd="0" presId="urn:microsoft.com/office/officeart/2005/8/layout/vList2"/>
    <dgm:cxn modelId="{EB5A62D1-4D1C-4C8A-AD3B-00F379D77280}" type="presOf" srcId="{DA1425D5-8BD6-4013-B90C-D17D5C57EA7F}" destId="{68E6D3A4-3749-478B-A672-7EB6764AB660}" srcOrd="0" destOrd="0" presId="urn:microsoft.com/office/officeart/2005/8/layout/vList2"/>
    <dgm:cxn modelId="{9503E7E4-8ACF-4285-970A-FADC291C5A26}" type="presOf" srcId="{243BD4ED-A15E-4DE5-B20D-28857C906556}" destId="{2A22D0F7-516C-4171-80D0-EDEDE2725082}" srcOrd="0" destOrd="0" presId="urn:microsoft.com/office/officeart/2005/8/layout/vList2"/>
    <dgm:cxn modelId="{AF709CE9-7605-4D35-8354-0AE2B49FF296}" srcId="{243BD4ED-A15E-4DE5-B20D-28857C906556}" destId="{DC1D5ADC-8457-492F-BA3C-99BDFBF2AE12}" srcOrd="6" destOrd="0" parTransId="{EB380A3B-D3A4-4DFA-852C-D6E6658CF404}" sibTransId="{272B92C0-C062-4A25-87A5-2E1F92F16B70}"/>
    <dgm:cxn modelId="{D9642FED-4D0E-4E29-A732-885E1450A6EC}" srcId="{243BD4ED-A15E-4DE5-B20D-28857C906556}" destId="{0FAD4629-754D-4DF3-9418-BDE4B1EFBA8C}" srcOrd="8" destOrd="0" parTransId="{27D476A1-FE40-45C0-9B28-EC5D35D9189C}" sibTransId="{8457CFA6-7E29-4572-9213-1E0AE2671207}"/>
    <dgm:cxn modelId="{521921F1-7392-4611-A2B2-E27205D4BFA5}" srcId="{243BD4ED-A15E-4DE5-B20D-28857C906556}" destId="{84794327-4ED3-4A88-BC4D-867227B65915}" srcOrd="9" destOrd="0" parTransId="{BE981702-A077-440D-BEC7-56F9D8DE12A4}" sibTransId="{3D6ED15D-C96B-4A96-97C1-7D97C6BDAA04}"/>
    <dgm:cxn modelId="{16DB4876-0D97-4D1D-A528-2F5CA8CBDACF}" type="presParOf" srcId="{2A22D0F7-516C-4171-80D0-EDEDE2725082}" destId="{68E6D3A4-3749-478B-A672-7EB6764AB660}" srcOrd="0" destOrd="0" presId="urn:microsoft.com/office/officeart/2005/8/layout/vList2"/>
    <dgm:cxn modelId="{1F625B64-4FC3-4409-A92E-2945B835D745}" type="presParOf" srcId="{2A22D0F7-516C-4171-80D0-EDEDE2725082}" destId="{8F4DAB79-788B-4F3C-8D7E-1B05ADB896AF}" srcOrd="1" destOrd="0" presId="urn:microsoft.com/office/officeart/2005/8/layout/vList2"/>
    <dgm:cxn modelId="{334E012A-E2A2-4844-A70A-A84856E1AB94}" type="presParOf" srcId="{2A22D0F7-516C-4171-80D0-EDEDE2725082}" destId="{EBCDB698-F31E-4B4A-A149-2EBFE9ADBE2F}" srcOrd="2" destOrd="0" presId="urn:microsoft.com/office/officeart/2005/8/layout/vList2"/>
    <dgm:cxn modelId="{BCD9ADD4-F66C-4AE5-B385-0BCA70462659}" type="presParOf" srcId="{2A22D0F7-516C-4171-80D0-EDEDE2725082}" destId="{65308081-4B76-492E-B58C-601BDEA6F276}" srcOrd="3" destOrd="0" presId="urn:microsoft.com/office/officeart/2005/8/layout/vList2"/>
    <dgm:cxn modelId="{235AA8FD-31F3-43A1-8B4A-2A9B87D01F90}" type="presParOf" srcId="{2A22D0F7-516C-4171-80D0-EDEDE2725082}" destId="{B65C1D3B-1EBE-4B3F-9CDE-D3F733A6FCBC}" srcOrd="4" destOrd="0" presId="urn:microsoft.com/office/officeart/2005/8/layout/vList2"/>
    <dgm:cxn modelId="{92FE6231-F84E-4325-BD09-7CC7EFC6F46F}" type="presParOf" srcId="{2A22D0F7-516C-4171-80D0-EDEDE2725082}" destId="{28F4631F-D564-4116-A7F0-B971E79316D1}" srcOrd="5" destOrd="0" presId="urn:microsoft.com/office/officeart/2005/8/layout/vList2"/>
    <dgm:cxn modelId="{577601F5-E09F-48C4-8EFB-5C8DC170CAEF}" type="presParOf" srcId="{2A22D0F7-516C-4171-80D0-EDEDE2725082}" destId="{5EEB1CD8-0211-4D95-935B-B087F4873EE4}" srcOrd="6" destOrd="0" presId="urn:microsoft.com/office/officeart/2005/8/layout/vList2"/>
    <dgm:cxn modelId="{1ABA087D-17E4-4B78-9FAA-54C9C7AB2547}" type="presParOf" srcId="{2A22D0F7-516C-4171-80D0-EDEDE2725082}" destId="{7FFFA523-540E-4FCF-BF6C-724AB51A3457}" srcOrd="7" destOrd="0" presId="urn:microsoft.com/office/officeart/2005/8/layout/vList2"/>
    <dgm:cxn modelId="{3ABECF9D-5D13-4D09-AD3C-55AC6D027404}" type="presParOf" srcId="{2A22D0F7-516C-4171-80D0-EDEDE2725082}" destId="{75AB77DA-9EA8-4BFA-BAD5-10F7ABFBB4D1}" srcOrd="8" destOrd="0" presId="urn:microsoft.com/office/officeart/2005/8/layout/vList2"/>
    <dgm:cxn modelId="{5A0826C3-BAF5-4949-84A6-DE9493E919F8}" type="presParOf" srcId="{2A22D0F7-516C-4171-80D0-EDEDE2725082}" destId="{43D08BE9-6337-43B6-8950-FA2BFFF51112}" srcOrd="9" destOrd="0" presId="urn:microsoft.com/office/officeart/2005/8/layout/vList2"/>
    <dgm:cxn modelId="{A335C100-C2F2-4C81-94A5-1237472EA815}" type="presParOf" srcId="{2A22D0F7-516C-4171-80D0-EDEDE2725082}" destId="{25D54961-8F05-439C-BD50-5478EA5E2982}" srcOrd="10" destOrd="0" presId="urn:microsoft.com/office/officeart/2005/8/layout/vList2"/>
    <dgm:cxn modelId="{97E4A5FB-E485-42EC-BDAE-15DD19BBB2B0}" type="presParOf" srcId="{2A22D0F7-516C-4171-80D0-EDEDE2725082}" destId="{75D4989E-FB68-412C-A281-13299B326584}" srcOrd="11" destOrd="0" presId="urn:microsoft.com/office/officeart/2005/8/layout/vList2"/>
    <dgm:cxn modelId="{916A7236-BBCF-4115-90B2-44EDDC3A6D7D}" type="presParOf" srcId="{2A22D0F7-516C-4171-80D0-EDEDE2725082}" destId="{0A4F9D03-D13C-4C42-8D5B-2455EC793A2C}" srcOrd="12" destOrd="0" presId="urn:microsoft.com/office/officeart/2005/8/layout/vList2"/>
    <dgm:cxn modelId="{E1E2556D-3656-4A18-A45D-7D4BB0D0DBD8}" type="presParOf" srcId="{2A22D0F7-516C-4171-80D0-EDEDE2725082}" destId="{55593A3D-F536-4375-9177-90DD87F53B42}" srcOrd="13" destOrd="0" presId="urn:microsoft.com/office/officeart/2005/8/layout/vList2"/>
    <dgm:cxn modelId="{B4E9E2E3-A4FD-4D27-B96F-B4FEED5CFF3A}" type="presParOf" srcId="{2A22D0F7-516C-4171-80D0-EDEDE2725082}" destId="{5D0C541D-D94E-453F-891B-2C40490E65E4}" srcOrd="14" destOrd="0" presId="urn:microsoft.com/office/officeart/2005/8/layout/vList2"/>
    <dgm:cxn modelId="{5B9C6C7B-3D29-4318-9183-20DF44DED1E4}" type="presParOf" srcId="{2A22D0F7-516C-4171-80D0-EDEDE2725082}" destId="{C141C885-F7C5-4598-BF11-152ACADB1ACB}" srcOrd="15" destOrd="0" presId="urn:microsoft.com/office/officeart/2005/8/layout/vList2"/>
    <dgm:cxn modelId="{1390B433-52C5-4225-9812-30D892999EA0}" type="presParOf" srcId="{2A22D0F7-516C-4171-80D0-EDEDE2725082}" destId="{023F7F8A-8D7E-48A7-93E6-BE11CBE1BBA5}" srcOrd="16" destOrd="0" presId="urn:microsoft.com/office/officeart/2005/8/layout/vList2"/>
    <dgm:cxn modelId="{8BFE89E6-C9A8-4481-B265-44F67FFFF683}" type="presParOf" srcId="{2A22D0F7-516C-4171-80D0-EDEDE2725082}" destId="{26791CC4-98B6-434F-95DB-B9C8E7FAC0B8}" srcOrd="17" destOrd="0" presId="urn:microsoft.com/office/officeart/2005/8/layout/vList2"/>
    <dgm:cxn modelId="{59D7705C-A6F5-46C4-8C53-72BF0E9373FA}" type="presParOf" srcId="{2A22D0F7-516C-4171-80D0-EDEDE2725082}" destId="{A4D6ECE6-F9DA-47B8-9209-E48D02A5AFB6}" srcOrd="1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47E6C44-1064-41B9-B098-4DC562804ACC}" type="doc">
      <dgm:prSet loTypeId="urn:microsoft.com/office/officeart/2005/8/layout/vList2" loCatId="list" qsTypeId="urn:microsoft.com/office/officeart/2005/8/quickstyle/simple1" qsCatId="simple" csTypeId="urn:microsoft.com/office/officeart/2005/8/colors/colorful5" csCatId="colorful"/>
      <dgm:spPr/>
      <dgm:t>
        <a:bodyPr/>
        <a:lstStyle/>
        <a:p>
          <a:endParaRPr lang="en-US"/>
        </a:p>
      </dgm:t>
    </dgm:pt>
    <dgm:pt modelId="{CA2A3C64-12F8-4301-9616-D0BD4048BBC9}">
      <dgm:prSet/>
      <dgm:spPr/>
      <dgm:t>
        <a:bodyPr/>
        <a:lstStyle/>
        <a:p>
          <a:r>
            <a:rPr lang="en-IN"/>
            <a:t>SCRUM Master</a:t>
          </a:r>
          <a:endParaRPr lang="en-US"/>
        </a:p>
      </dgm:t>
    </dgm:pt>
    <dgm:pt modelId="{3480FFBD-6A34-42BB-905E-143F04B1F7B9}" type="parTrans" cxnId="{03035847-6503-4A45-AF1A-52D542398738}">
      <dgm:prSet/>
      <dgm:spPr/>
      <dgm:t>
        <a:bodyPr/>
        <a:lstStyle/>
        <a:p>
          <a:endParaRPr lang="en-US"/>
        </a:p>
      </dgm:t>
    </dgm:pt>
    <dgm:pt modelId="{64CDE505-B63E-46A7-B020-54D7E6D42AEF}" type="sibTrans" cxnId="{03035847-6503-4A45-AF1A-52D542398738}">
      <dgm:prSet/>
      <dgm:spPr/>
      <dgm:t>
        <a:bodyPr/>
        <a:lstStyle/>
        <a:p>
          <a:endParaRPr lang="en-US"/>
        </a:p>
      </dgm:t>
    </dgm:pt>
    <dgm:pt modelId="{99361CBF-EFF9-48ED-9843-B5BE767E7980}">
      <dgm:prSet/>
      <dgm:spPr/>
      <dgm:t>
        <a:bodyPr/>
        <a:lstStyle/>
        <a:p>
          <a:r>
            <a:rPr lang="en-IN"/>
            <a:t>Product Owner</a:t>
          </a:r>
          <a:endParaRPr lang="en-US"/>
        </a:p>
      </dgm:t>
    </dgm:pt>
    <dgm:pt modelId="{35FC3263-C555-4253-AB60-572388D2A9AE}" type="parTrans" cxnId="{D60BD839-B95D-4AD1-83DA-F4A1A9BBCF72}">
      <dgm:prSet/>
      <dgm:spPr/>
      <dgm:t>
        <a:bodyPr/>
        <a:lstStyle/>
        <a:p>
          <a:endParaRPr lang="en-US"/>
        </a:p>
      </dgm:t>
    </dgm:pt>
    <dgm:pt modelId="{CBE92160-CFB7-42AA-BCEA-8D8192B097A8}" type="sibTrans" cxnId="{D60BD839-B95D-4AD1-83DA-F4A1A9BBCF72}">
      <dgm:prSet/>
      <dgm:spPr/>
      <dgm:t>
        <a:bodyPr/>
        <a:lstStyle/>
        <a:p>
          <a:endParaRPr lang="en-US"/>
        </a:p>
      </dgm:t>
    </dgm:pt>
    <dgm:pt modelId="{9F6C76B8-36F1-4F77-AF15-2BBC8C1DFE37}">
      <dgm:prSet/>
      <dgm:spPr/>
      <dgm:t>
        <a:bodyPr/>
        <a:lstStyle/>
        <a:p>
          <a:r>
            <a:rPr lang="en-US"/>
            <a:t>Developers (DevOps)</a:t>
          </a:r>
        </a:p>
      </dgm:t>
    </dgm:pt>
    <dgm:pt modelId="{2A4AABC6-1807-44DE-A6C2-C7F1F40B2E0A}" type="parTrans" cxnId="{03A20A57-C81D-4F68-8CBA-4147D678FD4A}">
      <dgm:prSet/>
      <dgm:spPr/>
      <dgm:t>
        <a:bodyPr/>
        <a:lstStyle/>
        <a:p>
          <a:endParaRPr lang="en-US"/>
        </a:p>
      </dgm:t>
    </dgm:pt>
    <dgm:pt modelId="{42E1F83A-267E-42E2-BED4-BDEE63CD3680}" type="sibTrans" cxnId="{03A20A57-C81D-4F68-8CBA-4147D678FD4A}">
      <dgm:prSet/>
      <dgm:spPr/>
      <dgm:t>
        <a:bodyPr/>
        <a:lstStyle/>
        <a:p>
          <a:endParaRPr lang="en-US"/>
        </a:p>
      </dgm:t>
    </dgm:pt>
    <dgm:pt modelId="{93CE5FEF-573E-49E6-815E-B5E9DDB18401}">
      <dgm:prSet/>
      <dgm:spPr/>
      <dgm:t>
        <a:bodyPr/>
        <a:lstStyle/>
        <a:p>
          <a:r>
            <a:rPr lang="en-US"/>
            <a:t>SCRM Events </a:t>
          </a:r>
        </a:p>
      </dgm:t>
    </dgm:pt>
    <dgm:pt modelId="{5BA052D2-8995-49C0-A219-E858562B4117}" type="parTrans" cxnId="{B4D7CB5C-4663-460D-86B4-9D36F6FBDB0C}">
      <dgm:prSet/>
      <dgm:spPr/>
      <dgm:t>
        <a:bodyPr/>
        <a:lstStyle/>
        <a:p>
          <a:endParaRPr lang="en-US"/>
        </a:p>
      </dgm:t>
    </dgm:pt>
    <dgm:pt modelId="{9DC8BE5C-D76A-4826-AB55-6609F79E71FE}" type="sibTrans" cxnId="{B4D7CB5C-4663-460D-86B4-9D36F6FBDB0C}">
      <dgm:prSet/>
      <dgm:spPr/>
      <dgm:t>
        <a:bodyPr/>
        <a:lstStyle/>
        <a:p>
          <a:endParaRPr lang="en-US"/>
        </a:p>
      </dgm:t>
    </dgm:pt>
    <dgm:pt modelId="{73D378FC-E6F6-4DF2-8D8F-225036ECCCD1}">
      <dgm:prSet/>
      <dgm:spPr/>
      <dgm:t>
        <a:bodyPr/>
        <a:lstStyle/>
        <a:p>
          <a:r>
            <a:rPr lang="en-US"/>
            <a:t>Sprint</a:t>
          </a:r>
        </a:p>
      </dgm:t>
    </dgm:pt>
    <dgm:pt modelId="{3177F2A7-3318-4580-8E19-AB3FB1A87CB6}" type="parTrans" cxnId="{F332D0D7-D722-49AA-8A0B-5C005D2891B4}">
      <dgm:prSet/>
      <dgm:spPr/>
      <dgm:t>
        <a:bodyPr/>
        <a:lstStyle/>
        <a:p>
          <a:endParaRPr lang="en-US"/>
        </a:p>
      </dgm:t>
    </dgm:pt>
    <dgm:pt modelId="{6A122A62-33DA-44FD-A821-E8A20CA69BAD}" type="sibTrans" cxnId="{F332D0D7-D722-49AA-8A0B-5C005D2891B4}">
      <dgm:prSet/>
      <dgm:spPr/>
      <dgm:t>
        <a:bodyPr/>
        <a:lstStyle/>
        <a:p>
          <a:endParaRPr lang="en-US"/>
        </a:p>
      </dgm:t>
    </dgm:pt>
    <dgm:pt modelId="{0F17CEC6-BB50-4884-965C-39E895E5F64D}">
      <dgm:prSet/>
      <dgm:spPr/>
      <dgm:t>
        <a:bodyPr/>
        <a:lstStyle/>
        <a:p>
          <a:r>
            <a:rPr lang="en-US"/>
            <a:t>Sprint Planning</a:t>
          </a:r>
        </a:p>
      </dgm:t>
    </dgm:pt>
    <dgm:pt modelId="{32C6CF58-F63F-4DD6-AFE9-AEEF37B2E3DB}" type="parTrans" cxnId="{83AC9407-A502-4919-9F25-B4ADBD79660E}">
      <dgm:prSet/>
      <dgm:spPr/>
      <dgm:t>
        <a:bodyPr/>
        <a:lstStyle/>
        <a:p>
          <a:endParaRPr lang="en-US"/>
        </a:p>
      </dgm:t>
    </dgm:pt>
    <dgm:pt modelId="{D38BDFB0-610A-4E80-9A4E-98009B6B2600}" type="sibTrans" cxnId="{83AC9407-A502-4919-9F25-B4ADBD79660E}">
      <dgm:prSet/>
      <dgm:spPr/>
      <dgm:t>
        <a:bodyPr/>
        <a:lstStyle/>
        <a:p>
          <a:endParaRPr lang="en-US"/>
        </a:p>
      </dgm:t>
    </dgm:pt>
    <dgm:pt modelId="{D0135710-800D-4DC6-8C9E-515DEDBD7E25}">
      <dgm:prSet/>
      <dgm:spPr/>
      <dgm:t>
        <a:bodyPr/>
        <a:lstStyle/>
        <a:p>
          <a:r>
            <a:rPr lang="en-US"/>
            <a:t>Daily Scrum</a:t>
          </a:r>
        </a:p>
      </dgm:t>
    </dgm:pt>
    <dgm:pt modelId="{160EF2F6-B5FC-45A6-940E-ECAEBA2A86E0}" type="parTrans" cxnId="{EF6BEE2A-DFC8-4DA5-BFAB-7BE9DDCF6BE4}">
      <dgm:prSet/>
      <dgm:spPr/>
      <dgm:t>
        <a:bodyPr/>
        <a:lstStyle/>
        <a:p>
          <a:endParaRPr lang="en-US"/>
        </a:p>
      </dgm:t>
    </dgm:pt>
    <dgm:pt modelId="{462DEDF4-A60B-4C57-AD80-4F6B45974CF8}" type="sibTrans" cxnId="{EF6BEE2A-DFC8-4DA5-BFAB-7BE9DDCF6BE4}">
      <dgm:prSet/>
      <dgm:spPr/>
      <dgm:t>
        <a:bodyPr/>
        <a:lstStyle/>
        <a:p>
          <a:endParaRPr lang="en-US"/>
        </a:p>
      </dgm:t>
    </dgm:pt>
    <dgm:pt modelId="{65AE285E-7F74-4620-A4FB-5B5E1BE866EB}">
      <dgm:prSet/>
      <dgm:spPr/>
      <dgm:t>
        <a:bodyPr/>
        <a:lstStyle/>
        <a:p>
          <a:r>
            <a:rPr lang="en-US"/>
            <a:t>Sprint review</a:t>
          </a:r>
        </a:p>
      </dgm:t>
    </dgm:pt>
    <dgm:pt modelId="{A458C95B-BAED-45DB-8815-678482E812F6}" type="parTrans" cxnId="{CE6D726F-D548-4542-B491-3E722318F9AD}">
      <dgm:prSet/>
      <dgm:spPr/>
      <dgm:t>
        <a:bodyPr/>
        <a:lstStyle/>
        <a:p>
          <a:endParaRPr lang="en-US"/>
        </a:p>
      </dgm:t>
    </dgm:pt>
    <dgm:pt modelId="{42ECD0B7-5EF5-4ED7-A08A-C0BFB365591C}" type="sibTrans" cxnId="{CE6D726F-D548-4542-B491-3E722318F9AD}">
      <dgm:prSet/>
      <dgm:spPr/>
      <dgm:t>
        <a:bodyPr/>
        <a:lstStyle/>
        <a:p>
          <a:endParaRPr lang="en-US"/>
        </a:p>
      </dgm:t>
    </dgm:pt>
    <dgm:pt modelId="{0F9866F5-5E6B-43ED-A5D0-F968887A5D52}">
      <dgm:prSet/>
      <dgm:spPr/>
      <dgm:t>
        <a:bodyPr/>
        <a:lstStyle/>
        <a:p>
          <a:r>
            <a:rPr lang="en-US"/>
            <a:t>Sprint Retrospective</a:t>
          </a:r>
        </a:p>
      </dgm:t>
    </dgm:pt>
    <dgm:pt modelId="{D64DEF1D-A229-49E7-9495-CF77373E1E36}" type="parTrans" cxnId="{2135B10A-7BEF-41CA-81A3-70A4A564A086}">
      <dgm:prSet/>
      <dgm:spPr/>
      <dgm:t>
        <a:bodyPr/>
        <a:lstStyle/>
        <a:p>
          <a:endParaRPr lang="en-US"/>
        </a:p>
      </dgm:t>
    </dgm:pt>
    <dgm:pt modelId="{55BFB909-6766-422E-8029-1FA5871C17DB}" type="sibTrans" cxnId="{2135B10A-7BEF-41CA-81A3-70A4A564A086}">
      <dgm:prSet/>
      <dgm:spPr/>
      <dgm:t>
        <a:bodyPr/>
        <a:lstStyle/>
        <a:p>
          <a:endParaRPr lang="en-US"/>
        </a:p>
      </dgm:t>
    </dgm:pt>
    <dgm:pt modelId="{498C59D5-5D51-4028-B1AD-9042D7BD3FE3}" type="pres">
      <dgm:prSet presAssocID="{F47E6C44-1064-41B9-B098-4DC562804ACC}" presName="linear" presStyleCnt="0">
        <dgm:presLayoutVars>
          <dgm:animLvl val="lvl"/>
          <dgm:resizeHandles val="exact"/>
        </dgm:presLayoutVars>
      </dgm:prSet>
      <dgm:spPr/>
    </dgm:pt>
    <dgm:pt modelId="{45A3B46D-5405-44A8-B35B-A836D26AE962}" type="pres">
      <dgm:prSet presAssocID="{CA2A3C64-12F8-4301-9616-D0BD4048BBC9}" presName="parentText" presStyleLbl="node1" presStyleIdx="0" presStyleCnt="4">
        <dgm:presLayoutVars>
          <dgm:chMax val="0"/>
          <dgm:bulletEnabled val="1"/>
        </dgm:presLayoutVars>
      </dgm:prSet>
      <dgm:spPr/>
    </dgm:pt>
    <dgm:pt modelId="{3A932E48-169A-4CC6-97C4-7A18C89AF665}" type="pres">
      <dgm:prSet presAssocID="{64CDE505-B63E-46A7-B020-54D7E6D42AEF}" presName="spacer" presStyleCnt="0"/>
      <dgm:spPr/>
    </dgm:pt>
    <dgm:pt modelId="{5C5676AD-0955-43E6-BE9B-68FACAE49B15}" type="pres">
      <dgm:prSet presAssocID="{99361CBF-EFF9-48ED-9843-B5BE767E7980}" presName="parentText" presStyleLbl="node1" presStyleIdx="1" presStyleCnt="4">
        <dgm:presLayoutVars>
          <dgm:chMax val="0"/>
          <dgm:bulletEnabled val="1"/>
        </dgm:presLayoutVars>
      </dgm:prSet>
      <dgm:spPr/>
    </dgm:pt>
    <dgm:pt modelId="{8DC0C6DD-64AA-4C1D-9EB7-F864FE0B2090}" type="pres">
      <dgm:prSet presAssocID="{CBE92160-CFB7-42AA-BCEA-8D8192B097A8}" presName="spacer" presStyleCnt="0"/>
      <dgm:spPr/>
    </dgm:pt>
    <dgm:pt modelId="{B89900CF-8DCB-4EEA-8149-E02CD3C4C6FC}" type="pres">
      <dgm:prSet presAssocID="{9F6C76B8-36F1-4F77-AF15-2BBC8C1DFE37}" presName="parentText" presStyleLbl="node1" presStyleIdx="2" presStyleCnt="4">
        <dgm:presLayoutVars>
          <dgm:chMax val="0"/>
          <dgm:bulletEnabled val="1"/>
        </dgm:presLayoutVars>
      </dgm:prSet>
      <dgm:spPr/>
    </dgm:pt>
    <dgm:pt modelId="{ADAAC6C4-B19A-4300-99D5-8009A11737AD}" type="pres">
      <dgm:prSet presAssocID="{42E1F83A-267E-42E2-BED4-BDEE63CD3680}" presName="spacer" presStyleCnt="0"/>
      <dgm:spPr/>
    </dgm:pt>
    <dgm:pt modelId="{E0AB3676-2B14-45A1-AD1F-381362AB14D6}" type="pres">
      <dgm:prSet presAssocID="{93CE5FEF-573E-49E6-815E-B5E9DDB18401}" presName="parentText" presStyleLbl="node1" presStyleIdx="3" presStyleCnt="4">
        <dgm:presLayoutVars>
          <dgm:chMax val="0"/>
          <dgm:bulletEnabled val="1"/>
        </dgm:presLayoutVars>
      </dgm:prSet>
      <dgm:spPr/>
    </dgm:pt>
    <dgm:pt modelId="{77435ED3-1DC1-4810-8100-4B7A5E8DD27D}" type="pres">
      <dgm:prSet presAssocID="{93CE5FEF-573E-49E6-815E-B5E9DDB18401}" presName="childText" presStyleLbl="revTx" presStyleIdx="0" presStyleCnt="1">
        <dgm:presLayoutVars>
          <dgm:bulletEnabled val="1"/>
        </dgm:presLayoutVars>
      </dgm:prSet>
      <dgm:spPr/>
    </dgm:pt>
  </dgm:ptLst>
  <dgm:cxnLst>
    <dgm:cxn modelId="{83AC9407-A502-4919-9F25-B4ADBD79660E}" srcId="{93CE5FEF-573E-49E6-815E-B5E9DDB18401}" destId="{0F17CEC6-BB50-4884-965C-39E895E5F64D}" srcOrd="1" destOrd="0" parTransId="{32C6CF58-F63F-4DD6-AFE9-AEEF37B2E3DB}" sibTransId="{D38BDFB0-610A-4E80-9A4E-98009B6B2600}"/>
    <dgm:cxn modelId="{9D6CDF07-72C9-4FF4-AFF0-3D7FB3ED4CE4}" type="presOf" srcId="{D0135710-800D-4DC6-8C9E-515DEDBD7E25}" destId="{77435ED3-1DC1-4810-8100-4B7A5E8DD27D}" srcOrd="0" destOrd="2" presId="urn:microsoft.com/office/officeart/2005/8/layout/vList2"/>
    <dgm:cxn modelId="{2135B10A-7BEF-41CA-81A3-70A4A564A086}" srcId="{93CE5FEF-573E-49E6-815E-B5E9DDB18401}" destId="{0F9866F5-5E6B-43ED-A5D0-F968887A5D52}" srcOrd="4" destOrd="0" parTransId="{D64DEF1D-A229-49E7-9495-CF77373E1E36}" sibTransId="{55BFB909-6766-422E-8029-1FA5871C17DB}"/>
    <dgm:cxn modelId="{EF6BEE2A-DFC8-4DA5-BFAB-7BE9DDCF6BE4}" srcId="{93CE5FEF-573E-49E6-815E-B5E9DDB18401}" destId="{D0135710-800D-4DC6-8C9E-515DEDBD7E25}" srcOrd="2" destOrd="0" parTransId="{160EF2F6-B5FC-45A6-940E-ECAEBA2A86E0}" sibTransId="{462DEDF4-A60B-4C57-AD80-4F6B45974CF8}"/>
    <dgm:cxn modelId="{4A9D5E35-A9BF-4461-A86F-5FE939711958}" type="presOf" srcId="{73D378FC-E6F6-4DF2-8D8F-225036ECCCD1}" destId="{77435ED3-1DC1-4810-8100-4B7A5E8DD27D}" srcOrd="0" destOrd="0" presId="urn:microsoft.com/office/officeart/2005/8/layout/vList2"/>
    <dgm:cxn modelId="{D60BD839-B95D-4AD1-83DA-F4A1A9BBCF72}" srcId="{F47E6C44-1064-41B9-B098-4DC562804ACC}" destId="{99361CBF-EFF9-48ED-9843-B5BE767E7980}" srcOrd="1" destOrd="0" parTransId="{35FC3263-C555-4253-AB60-572388D2A9AE}" sibTransId="{CBE92160-CFB7-42AA-BCEA-8D8192B097A8}"/>
    <dgm:cxn modelId="{B4D7CB5C-4663-460D-86B4-9D36F6FBDB0C}" srcId="{F47E6C44-1064-41B9-B098-4DC562804ACC}" destId="{93CE5FEF-573E-49E6-815E-B5E9DDB18401}" srcOrd="3" destOrd="0" parTransId="{5BA052D2-8995-49C0-A219-E858562B4117}" sibTransId="{9DC8BE5C-D76A-4826-AB55-6609F79E71FE}"/>
    <dgm:cxn modelId="{D7B83460-5B4B-4ACB-8E63-C6BDFE982AC9}" type="presOf" srcId="{65AE285E-7F74-4620-A4FB-5B5E1BE866EB}" destId="{77435ED3-1DC1-4810-8100-4B7A5E8DD27D}" srcOrd="0" destOrd="3" presId="urn:microsoft.com/office/officeart/2005/8/layout/vList2"/>
    <dgm:cxn modelId="{A1F35E61-F08B-4E58-9A02-33411A9750C9}" type="presOf" srcId="{93CE5FEF-573E-49E6-815E-B5E9DDB18401}" destId="{E0AB3676-2B14-45A1-AD1F-381362AB14D6}" srcOrd="0" destOrd="0" presId="urn:microsoft.com/office/officeart/2005/8/layout/vList2"/>
    <dgm:cxn modelId="{03035847-6503-4A45-AF1A-52D542398738}" srcId="{F47E6C44-1064-41B9-B098-4DC562804ACC}" destId="{CA2A3C64-12F8-4301-9616-D0BD4048BBC9}" srcOrd="0" destOrd="0" parTransId="{3480FFBD-6A34-42BB-905E-143F04B1F7B9}" sibTransId="{64CDE505-B63E-46A7-B020-54D7E6D42AEF}"/>
    <dgm:cxn modelId="{9EDBD767-DFA1-4877-91E8-B80C676D2784}" type="presOf" srcId="{CA2A3C64-12F8-4301-9616-D0BD4048BBC9}" destId="{45A3B46D-5405-44A8-B35B-A836D26AE962}" srcOrd="0" destOrd="0" presId="urn:microsoft.com/office/officeart/2005/8/layout/vList2"/>
    <dgm:cxn modelId="{CE6D726F-D548-4542-B491-3E722318F9AD}" srcId="{93CE5FEF-573E-49E6-815E-B5E9DDB18401}" destId="{65AE285E-7F74-4620-A4FB-5B5E1BE866EB}" srcOrd="3" destOrd="0" parTransId="{A458C95B-BAED-45DB-8815-678482E812F6}" sibTransId="{42ECD0B7-5EF5-4ED7-A08A-C0BFB365591C}"/>
    <dgm:cxn modelId="{03A20A57-C81D-4F68-8CBA-4147D678FD4A}" srcId="{F47E6C44-1064-41B9-B098-4DC562804ACC}" destId="{9F6C76B8-36F1-4F77-AF15-2BBC8C1DFE37}" srcOrd="2" destOrd="0" parTransId="{2A4AABC6-1807-44DE-A6C2-C7F1F40B2E0A}" sibTransId="{42E1F83A-267E-42E2-BED4-BDEE63CD3680}"/>
    <dgm:cxn modelId="{D31D0A88-454E-435B-943A-BEF848A7D97D}" type="presOf" srcId="{0F17CEC6-BB50-4884-965C-39E895E5F64D}" destId="{77435ED3-1DC1-4810-8100-4B7A5E8DD27D}" srcOrd="0" destOrd="1" presId="urn:microsoft.com/office/officeart/2005/8/layout/vList2"/>
    <dgm:cxn modelId="{ECD2A0B7-F134-4721-9B01-92DC440266AE}" type="presOf" srcId="{F47E6C44-1064-41B9-B098-4DC562804ACC}" destId="{498C59D5-5D51-4028-B1AD-9042D7BD3FE3}" srcOrd="0" destOrd="0" presId="urn:microsoft.com/office/officeart/2005/8/layout/vList2"/>
    <dgm:cxn modelId="{C4E810CB-E934-49D0-BACE-460B7B114164}" type="presOf" srcId="{99361CBF-EFF9-48ED-9843-B5BE767E7980}" destId="{5C5676AD-0955-43E6-BE9B-68FACAE49B15}" srcOrd="0" destOrd="0" presId="urn:microsoft.com/office/officeart/2005/8/layout/vList2"/>
    <dgm:cxn modelId="{FA98EBD0-27D5-44E5-9EB7-C417D787B691}" type="presOf" srcId="{0F9866F5-5E6B-43ED-A5D0-F968887A5D52}" destId="{77435ED3-1DC1-4810-8100-4B7A5E8DD27D}" srcOrd="0" destOrd="4" presId="urn:microsoft.com/office/officeart/2005/8/layout/vList2"/>
    <dgm:cxn modelId="{F332D0D7-D722-49AA-8A0B-5C005D2891B4}" srcId="{93CE5FEF-573E-49E6-815E-B5E9DDB18401}" destId="{73D378FC-E6F6-4DF2-8D8F-225036ECCCD1}" srcOrd="0" destOrd="0" parTransId="{3177F2A7-3318-4580-8E19-AB3FB1A87CB6}" sibTransId="{6A122A62-33DA-44FD-A821-E8A20CA69BAD}"/>
    <dgm:cxn modelId="{85F019D8-5F01-43A9-A443-A24D1D433D84}" type="presOf" srcId="{9F6C76B8-36F1-4F77-AF15-2BBC8C1DFE37}" destId="{B89900CF-8DCB-4EEA-8149-E02CD3C4C6FC}" srcOrd="0" destOrd="0" presId="urn:microsoft.com/office/officeart/2005/8/layout/vList2"/>
    <dgm:cxn modelId="{2A857DF6-B3A4-4DEB-A851-5AA506EB5EA6}" type="presParOf" srcId="{498C59D5-5D51-4028-B1AD-9042D7BD3FE3}" destId="{45A3B46D-5405-44A8-B35B-A836D26AE962}" srcOrd="0" destOrd="0" presId="urn:microsoft.com/office/officeart/2005/8/layout/vList2"/>
    <dgm:cxn modelId="{E6A12B82-EEFB-43A6-A9AF-DA361545977D}" type="presParOf" srcId="{498C59D5-5D51-4028-B1AD-9042D7BD3FE3}" destId="{3A932E48-169A-4CC6-97C4-7A18C89AF665}" srcOrd="1" destOrd="0" presId="urn:microsoft.com/office/officeart/2005/8/layout/vList2"/>
    <dgm:cxn modelId="{C5762AD7-213C-4ADD-BA40-4EF71BF00F63}" type="presParOf" srcId="{498C59D5-5D51-4028-B1AD-9042D7BD3FE3}" destId="{5C5676AD-0955-43E6-BE9B-68FACAE49B15}" srcOrd="2" destOrd="0" presId="urn:microsoft.com/office/officeart/2005/8/layout/vList2"/>
    <dgm:cxn modelId="{D6E8989A-FCDD-43CB-A187-5BA4C16BAEFC}" type="presParOf" srcId="{498C59D5-5D51-4028-B1AD-9042D7BD3FE3}" destId="{8DC0C6DD-64AA-4C1D-9EB7-F864FE0B2090}" srcOrd="3" destOrd="0" presId="urn:microsoft.com/office/officeart/2005/8/layout/vList2"/>
    <dgm:cxn modelId="{6205DA81-E66E-4653-BBA3-AB3C29AE1B43}" type="presParOf" srcId="{498C59D5-5D51-4028-B1AD-9042D7BD3FE3}" destId="{B89900CF-8DCB-4EEA-8149-E02CD3C4C6FC}" srcOrd="4" destOrd="0" presId="urn:microsoft.com/office/officeart/2005/8/layout/vList2"/>
    <dgm:cxn modelId="{AE5CE390-7650-4001-93EC-5C64582B40A9}" type="presParOf" srcId="{498C59D5-5D51-4028-B1AD-9042D7BD3FE3}" destId="{ADAAC6C4-B19A-4300-99D5-8009A11737AD}" srcOrd="5" destOrd="0" presId="urn:microsoft.com/office/officeart/2005/8/layout/vList2"/>
    <dgm:cxn modelId="{6750EE4E-0FE8-4204-A638-6879C13F7397}" type="presParOf" srcId="{498C59D5-5D51-4028-B1AD-9042D7BD3FE3}" destId="{E0AB3676-2B14-45A1-AD1F-381362AB14D6}" srcOrd="6" destOrd="0" presId="urn:microsoft.com/office/officeart/2005/8/layout/vList2"/>
    <dgm:cxn modelId="{059E47EF-CD68-493E-818E-EC031F666794}" type="presParOf" srcId="{498C59D5-5D51-4028-B1AD-9042D7BD3FE3}" destId="{77435ED3-1DC1-4810-8100-4B7A5E8DD27D}" srcOrd="7"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EC06F4A-C313-4550-9212-3D8A74DA40F6}" type="doc">
      <dgm:prSet loTypeId="urn:microsoft.com/office/officeart/2005/8/layout/hierarchy1" loCatId="hierarchy" qsTypeId="urn:microsoft.com/office/officeart/2005/8/quickstyle/simple1" qsCatId="simple" csTypeId="urn:microsoft.com/office/officeart/2005/8/colors/colorful2" csCatId="colorful"/>
      <dgm:spPr/>
      <dgm:t>
        <a:bodyPr/>
        <a:lstStyle/>
        <a:p>
          <a:endParaRPr lang="en-US"/>
        </a:p>
      </dgm:t>
    </dgm:pt>
    <dgm:pt modelId="{75188430-39CC-41A8-9E37-AAD0C92C4CCB}">
      <dgm:prSet/>
      <dgm:spPr/>
      <dgm:t>
        <a:bodyPr/>
        <a:lstStyle/>
        <a:p>
          <a:r>
            <a:rPr lang="en-US"/>
            <a:t>Kanban is a popular framework used to implement </a:t>
          </a:r>
          <a:r>
            <a:rPr lang="en-US">
              <a:hlinkClick xmlns:r="http://schemas.openxmlformats.org/officeDocument/2006/relationships" r:id="rId1"/>
            </a:rPr>
            <a:t>agile</a:t>
          </a:r>
          <a:r>
            <a:rPr lang="en-US"/>
            <a:t> and </a:t>
          </a:r>
          <a:r>
            <a:rPr lang="en-US">
              <a:hlinkClick xmlns:r="http://schemas.openxmlformats.org/officeDocument/2006/relationships" r:id="rId2"/>
            </a:rPr>
            <a:t>DevOps</a:t>
          </a:r>
          <a:r>
            <a:rPr lang="en-US"/>
            <a:t> software development. It requires real-time communication of capacity and full transparency of work. Work items are represented visually on a kanban board, allowing team members to see the state of every piece of work at any time.</a:t>
          </a:r>
        </a:p>
      </dgm:t>
    </dgm:pt>
    <dgm:pt modelId="{CDB41A74-F98F-4294-B46D-96662585DA8B}" type="parTrans" cxnId="{874AA6F1-5E94-4C54-A0AB-0FAABB7D3456}">
      <dgm:prSet/>
      <dgm:spPr/>
      <dgm:t>
        <a:bodyPr/>
        <a:lstStyle/>
        <a:p>
          <a:endParaRPr lang="en-US"/>
        </a:p>
      </dgm:t>
    </dgm:pt>
    <dgm:pt modelId="{EF835E3C-E006-41F0-97C1-03415C7D3B50}" type="sibTrans" cxnId="{874AA6F1-5E94-4C54-A0AB-0FAABB7D3456}">
      <dgm:prSet/>
      <dgm:spPr/>
      <dgm:t>
        <a:bodyPr/>
        <a:lstStyle/>
        <a:p>
          <a:endParaRPr lang="en-US"/>
        </a:p>
      </dgm:t>
    </dgm:pt>
    <dgm:pt modelId="{0259C694-7B26-4BDD-B270-9CE25E9BC79A}">
      <dgm:prSet/>
      <dgm:spPr/>
      <dgm:t>
        <a:bodyPr/>
        <a:lstStyle/>
        <a:p>
          <a:r>
            <a:rPr lang="en-US"/>
            <a:t>A kanban board is an agile project management tool designed to help visualize work, limit work-in-progress, and maximize efficiency (or flow). It can help both </a:t>
          </a:r>
          <a:r>
            <a:rPr lang="en-US">
              <a:hlinkClick xmlns:r="http://schemas.openxmlformats.org/officeDocument/2006/relationships" r:id="rId1"/>
            </a:rPr>
            <a:t>agile</a:t>
          </a:r>
          <a:r>
            <a:rPr lang="en-US"/>
            <a:t> and </a:t>
          </a:r>
          <a:r>
            <a:rPr lang="en-US">
              <a:hlinkClick xmlns:r="http://schemas.openxmlformats.org/officeDocument/2006/relationships" r:id="rId2"/>
            </a:rPr>
            <a:t>DevOps</a:t>
          </a:r>
          <a:r>
            <a:rPr lang="en-US"/>
            <a:t> teams establish order in their daily work. Kanban boards use cards, columns, and continuous improvement to help technology and service teams commit to the right amount of work, and get it done!</a:t>
          </a:r>
          <a:br>
            <a:rPr lang="en-US"/>
          </a:br>
          <a:endParaRPr lang="en-US"/>
        </a:p>
      </dgm:t>
    </dgm:pt>
    <dgm:pt modelId="{A230C472-8D03-4DDB-8039-D4543BDBFBD0}" type="parTrans" cxnId="{EB0417EC-2AB7-4976-9AE1-2894C3B4C0A1}">
      <dgm:prSet/>
      <dgm:spPr/>
      <dgm:t>
        <a:bodyPr/>
        <a:lstStyle/>
        <a:p>
          <a:endParaRPr lang="en-US"/>
        </a:p>
      </dgm:t>
    </dgm:pt>
    <dgm:pt modelId="{84D16EAB-F58D-4A95-841F-9752C6EEC13F}" type="sibTrans" cxnId="{EB0417EC-2AB7-4976-9AE1-2894C3B4C0A1}">
      <dgm:prSet/>
      <dgm:spPr/>
      <dgm:t>
        <a:bodyPr/>
        <a:lstStyle/>
        <a:p>
          <a:endParaRPr lang="en-US"/>
        </a:p>
      </dgm:t>
    </dgm:pt>
    <dgm:pt modelId="{055F5B3A-56A7-4167-8AA5-787752492520}" type="pres">
      <dgm:prSet presAssocID="{2EC06F4A-C313-4550-9212-3D8A74DA40F6}" presName="hierChild1" presStyleCnt="0">
        <dgm:presLayoutVars>
          <dgm:chPref val="1"/>
          <dgm:dir/>
          <dgm:animOne val="branch"/>
          <dgm:animLvl val="lvl"/>
          <dgm:resizeHandles/>
        </dgm:presLayoutVars>
      </dgm:prSet>
      <dgm:spPr/>
    </dgm:pt>
    <dgm:pt modelId="{E1C52958-C637-4659-88BF-EC183BD2F494}" type="pres">
      <dgm:prSet presAssocID="{75188430-39CC-41A8-9E37-AAD0C92C4CCB}" presName="hierRoot1" presStyleCnt="0"/>
      <dgm:spPr/>
    </dgm:pt>
    <dgm:pt modelId="{D841CE3B-B57A-4997-AFC8-2F4AC803D1BF}" type="pres">
      <dgm:prSet presAssocID="{75188430-39CC-41A8-9E37-AAD0C92C4CCB}" presName="composite" presStyleCnt="0"/>
      <dgm:spPr/>
    </dgm:pt>
    <dgm:pt modelId="{5E980390-98AA-45A5-975A-ED4A357C395A}" type="pres">
      <dgm:prSet presAssocID="{75188430-39CC-41A8-9E37-AAD0C92C4CCB}" presName="background" presStyleLbl="node0" presStyleIdx="0" presStyleCnt="2"/>
      <dgm:spPr/>
    </dgm:pt>
    <dgm:pt modelId="{F8E3A18D-4477-4C87-A6FF-D74BDAF1ECF4}" type="pres">
      <dgm:prSet presAssocID="{75188430-39CC-41A8-9E37-AAD0C92C4CCB}" presName="text" presStyleLbl="fgAcc0" presStyleIdx="0" presStyleCnt="2">
        <dgm:presLayoutVars>
          <dgm:chPref val="3"/>
        </dgm:presLayoutVars>
      </dgm:prSet>
      <dgm:spPr/>
    </dgm:pt>
    <dgm:pt modelId="{E86A2C2A-8808-475F-B199-70EFCFD32C1D}" type="pres">
      <dgm:prSet presAssocID="{75188430-39CC-41A8-9E37-AAD0C92C4CCB}" presName="hierChild2" presStyleCnt="0"/>
      <dgm:spPr/>
    </dgm:pt>
    <dgm:pt modelId="{DB2B287B-61DE-4A17-80F7-5F96A0CD0609}" type="pres">
      <dgm:prSet presAssocID="{0259C694-7B26-4BDD-B270-9CE25E9BC79A}" presName="hierRoot1" presStyleCnt="0"/>
      <dgm:spPr/>
    </dgm:pt>
    <dgm:pt modelId="{2D9DA2B5-DD4C-4198-8EFD-E89301A38BC9}" type="pres">
      <dgm:prSet presAssocID="{0259C694-7B26-4BDD-B270-9CE25E9BC79A}" presName="composite" presStyleCnt="0"/>
      <dgm:spPr/>
    </dgm:pt>
    <dgm:pt modelId="{40D6B215-56C9-4A15-83CD-C2B1831E9F3C}" type="pres">
      <dgm:prSet presAssocID="{0259C694-7B26-4BDD-B270-9CE25E9BC79A}" presName="background" presStyleLbl="node0" presStyleIdx="1" presStyleCnt="2"/>
      <dgm:spPr/>
    </dgm:pt>
    <dgm:pt modelId="{F3F8EB10-9FFB-4A74-BC15-D4F5E0583F8B}" type="pres">
      <dgm:prSet presAssocID="{0259C694-7B26-4BDD-B270-9CE25E9BC79A}" presName="text" presStyleLbl="fgAcc0" presStyleIdx="1" presStyleCnt="2">
        <dgm:presLayoutVars>
          <dgm:chPref val="3"/>
        </dgm:presLayoutVars>
      </dgm:prSet>
      <dgm:spPr/>
    </dgm:pt>
    <dgm:pt modelId="{381D37D3-52A8-4A8C-971A-82F84D6777AF}" type="pres">
      <dgm:prSet presAssocID="{0259C694-7B26-4BDD-B270-9CE25E9BC79A}" presName="hierChild2" presStyleCnt="0"/>
      <dgm:spPr/>
    </dgm:pt>
  </dgm:ptLst>
  <dgm:cxnLst>
    <dgm:cxn modelId="{A240823A-281D-49A0-84F6-8D283F355EAF}" type="presOf" srcId="{2EC06F4A-C313-4550-9212-3D8A74DA40F6}" destId="{055F5B3A-56A7-4167-8AA5-787752492520}" srcOrd="0" destOrd="0" presId="urn:microsoft.com/office/officeart/2005/8/layout/hierarchy1"/>
    <dgm:cxn modelId="{60FA4B8F-8D49-499B-A40A-57471C15D7E5}" type="presOf" srcId="{0259C694-7B26-4BDD-B270-9CE25E9BC79A}" destId="{F3F8EB10-9FFB-4A74-BC15-D4F5E0583F8B}" srcOrd="0" destOrd="0" presId="urn:microsoft.com/office/officeart/2005/8/layout/hierarchy1"/>
    <dgm:cxn modelId="{B0E22DAD-3CBC-4E70-8891-C899D49FBBE7}" type="presOf" srcId="{75188430-39CC-41A8-9E37-AAD0C92C4CCB}" destId="{F8E3A18D-4477-4C87-A6FF-D74BDAF1ECF4}" srcOrd="0" destOrd="0" presId="urn:microsoft.com/office/officeart/2005/8/layout/hierarchy1"/>
    <dgm:cxn modelId="{EB0417EC-2AB7-4976-9AE1-2894C3B4C0A1}" srcId="{2EC06F4A-C313-4550-9212-3D8A74DA40F6}" destId="{0259C694-7B26-4BDD-B270-9CE25E9BC79A}" srcOrd="1" destOrd="0" parTransId="{A230C472-8D03-4DDB-8039-D4543BDBFBD0}" sibTransId="{84D16EAB-F58D-4A95-841F-9752C6EEC13F}"/>
    <dgm:cxn modelId="{874AA6F1-5E94-4C54-A0AB-0FAABB7D3456}" srcId="{2EC06F4A-C313-4550-9212-3D8A74DA40F6}" destId="{75188430-39CC-41A8-9E37-AAD0C92C4CCB}" srcOrd="0" destOrd="0" parTransId="{CDB41A74-F98F-4294-B46D-96662585DA8B}" sibTransId="{EF835E3C-E006-41F0-97C1-03415C7D3B50}"/>
    <dgm:cxn modelId="{4C5F5FF5-13C2-4307-8DA6-16956E7915C2}" type="presParOf" srcId="{055F5B3A-56A7-4167-8AA5-787752492520}" destId="{E1C52958-C637-4659-88BF-EC183BD2F494}" srcOrd="0" destOrd="0" presId="urn:microsoft.com/office/officeart/2005/8/layout/hierarchy1"/>
    <dgm:cxn modelId="{88F1E0AE-3C22-45E3-AA84-2006E1A947A0}" type="presParOf" srcId="{E1C52958-C637-4659-88BF-EC183BD2F494}" destId="{D841CE3B-B57A-4997-AFC8-2F4AC803D1BF}" srcOrd="0" destOrd="0" presId="urn:microsoft.com/office/officeart/2005/8/layout/hierarchy1"/>
    <dgm:cxn modelId="{85AC5F28-7262-4438-95A6-3300431DD1DC}" type="presParOf" srcId="{D841CE3B-B57A-4997-AFC8-2F4AC803D1BF}" destId="{5E980390-98AA-45A5-975A-ED4A357C395A}" srcOrd="0" destOrd="0" presId="urn:microsoft.com/office/officeart/2005/8/layout/hierarchy1"/>
    <dgm:cxn modelId="{71E490EE-9AC9-42A5-8106-52A92E22924F}" type="presParOf" srcId="{D841CE3B-B57A-4997-AFC8-2F4AC803D1BF}" destId="{F8E3A18D-4477-4C87-A6FF-D74BDAF1ECF4}" srcOrd="1" destOrd="0" presId="urn:microsoft.com/office/officeart/2005/8/layout/hierarchy1"/>
    <dgm:cxn modelId="{7AD836B0-EA50-4453-B159-D97D02C5784A}" type="presParOf" srcId="{E1C52958-C637-4659-88BF-EC183BD2F494}" destId="{E86A2C2A-8808-475F-B199-70EFCFD32C1D}" srcOrd="1" destOrd="0" presId="urn:microsoft.com/office/officeart/2005/8/layout/hierarchy1"/>
    <dgm:cxn modelId="{3BB07F5A-EA00-431B-9073-64916B5750E5}" type="presParOf" srcId="{055F5B3A-56A7-4167-8AA5-787752492520}" destId="{DB2B287B-61DE-4A17-80F7-5F96A0CD0609}" srcOrd="1" destOrd="0" presId="urn:microsoft.com/office/officeart/2005/8/layout/hierarchy1"/>
    <dgm:cxn modelId="{A5A36800-AA66-4097-91F9-AED6110BA9F8}" type="presParOf" srcId="{DB2B287B-61DE-4A17-80F7-5F96A0CD0609}" destId="{2D9DA2B5-DD4C-4198-8EFD-E89301A38BC9}" srcOrd="0" destOrd="0" presId="urn:microsoft.com/office/officeart/2005/8/layout/hierarchy1"/>
    <dgm:cxn modelId="{5652C780-52F6-4D3F-8CA6-1B997C8EF03A}" type="presParOf" srcId="{2D9DA2B5-DD4C-4198-8EFD-E89301A38BC9}" destId="{40D6B215-56C9-4A15-83CD-C2B1831E9F3C}" srcOrd="0" destOrd="0" presId="urn:microsoft.com/office/officeart/2005/8/layout/hierarchy1"/>
    <dgm:cxn modelId="{77E1148D-C539-44A2-807E-EA181BA2C400}" type="presParOf" srcId="{2D9DA2B5-DD4C-4198-8EFD-E89301A38BC9}" destId="{F3F8EB10-9FFB-4A74-BC15-D4F5E0583F8B}" srcOrd="1" destOrd="0" presId="urn:microsoft.com/office/officeart/2005/8/layout/hierarchy1"/>
    <dgm:cxn modelId="{AFDFD1B1-C52C-435C-8DD5-26768FB2E82C}" type="presParOf" srcId="{DB2B287B-61DE-4A17-80F7-5F96A0CD0609}" destId="{381D37D3-52A8-4A8C-971A-82F84D6777AF}"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CE69AE-F087-41DC-AE4F-7B6DAAF05B56}">
      <dsp:nvSpPr>
        <dsp:cNvPr id="0" name=""/>
        <dsp:cNvSpPr/>
      </dsp:nvSpPr>
      <dsp:spPr>
        <a:xfrm>
          <a:off x="0" y="4936"/>
          <a:ext cx="6263640" cy="551655"/>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Introduction</a:t>
          </a:r>
        </a:p>
      </dsp:txBody>
      <dsp:txXfrm>
        <a:off x="26930" y="31866"/>
        <a:ext cx="6209780" cy="497795"/>
      </dsp:txXfrm>
    </dsp:sp>
    <dsp:sp modelId="{83D97E01-EC5A-48A4-98FB-EDACC26C2A55}">
      <dsp:nvSpPr>
        <dsp:cNvPr id="0" name=""/>
        <dsp:cNvSpPr/>
      </dsp:nvSpPr>
      <dsp:spPr>
        <a:xfrm>
          <a:off x="0" y="622831"/>
          <a:ext cx="6263640" cy="551655"/>
        </a:xfrm>
        <a:prstGeom prst="roundRect">
          <a:avLst/>
        </a:prstGeom>
        <a:solidFill>
          <a:schemeClr val="accent5">
            <a:hueOff val="-844818"/>
            <a:satOff val="-2177"/>
            <a:lumOff val="-14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SDLC Overview</a:t>
          </a:r>
        </a:p>
      </dsp:txBody>
      <dsp:txXfrm>
        <a:off x="26930" y="649761"/>
        <a:ext cx="6209780" cy="497795"/>
      </dsp:txXfrm>
    </dsp:sp>
    <dsp:sp modelId="{C1B887AA-4AE4-4EC1-8CBC-8949608030E6}">
      <dsp:nvSpPr>
        <dsp:cNvPr id="0" name=""/>
        <dsp:cNvSpPr/>
      </dsp:nvSpPr>
      <dsp:spPr>
        <a:xfrm>
          <a:off x="0" y="1240726"/>
          <a:ext cx="6263640" cy="551655"/>
        </a:xfrm>
        <a:prstGeom prst="roundRect">
          <a:avLst/>
        </a:prstGeom>
        <a:solidFill>
          <a:schemeClr val="accent5">
            <a:hueOff val="-1689636"/>
            <a:satOff val="-4355"/>
            <a:lumOff val="-29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SDLC Phases</a:t>
          </a:r>
        </a:p>
      </dsp:txBody>
      <dsp:txXfrm>
        <a:off x="26930" y="1267656"/>
        <a:ext cx="6209780" cy="497795"/>
      </dsp:txXfrm>
    </dsp:sp>
    <dsp:sp modelId="{B6CF5CA5-0B2F-45FB-B24F-4485E058AD93}">
      <dsp:nvSpPr>
        <dsp:cNvPr id="0" name=""/>
        <dsp:cNvSpPr/>
      </dsp:nvSpPr>
      <dsp:spPr>
        <a:xfrm>
          <a:off x="0" y="1858621"/>
          <a:ext cx="6263640" cy="551655"/>
        </a:xfrm>
        <a:prstGeom prst="roundRect">
          <a:avLst/>
        </a:prstGeom>
        <a:solidFill>
          <a:schemeClr val="accent5">
            <a:hueOff val="-2534453"/>
            <a:satOff val="-6532"/>
            <a:lumOff val="-44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SDLC Model</a:t>
          </a:r>
        </a:p>
      </dsp:txBody>
      <dsp:txXfrm>
        <a:off x="26930" y="1885551"/>
        <a:ext cx="6209780" cy="497795"/>
      </dsp:txXfrm>
    </dsp:sp>
    <dsp:sp modelId="{ED354CC9-59D4-4085-A4AC-74925BE2DD8E}">
      <dsp:nvSpPr>
        <dsp:cNvPr id="0" name=""/>
        <dsp:cNvSpPr/>
      </dsp:nvSpPr>
      <dsp:spPr>
        <a:xfrm>
          <a:off x="0" y="2476516"/>
          <a:ext cx="6263640" cy="551655"/>
        </a:xfrm>
        <a:prstGeom prst="roundRect">
          <a:avLst/>
        </a:prstGeom>
        <a:solidFill>
          <a:schemeClr val="accent5">
            <a:hueOff val="-3379271"/>
            <a:satOff val="-8710"/>
            <a:lumOff val="-5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Risk Management of SDLC project</a:t>
          </a:r>
        </a:p>
      </dsp:txBody>
      <dsp:txXfrm>
        <a:off x="26930" y="2503446"/>
        <a:ext cx="6209780" cy="497795"/>
      </dsp:txXfrm>
    </dsp:sp>
    <dsp:sp modelId="{A860F779-8024-47F8-BFB2-9F03E5D7E254}">
      <dsp:nvSpPr>
        <dsp:cNvPr id="0" name=""/>
        <dsp:cNvSpPr/>
      </dsp:nvSpPr>
      <dsp:spPr>
        <a:xfrm>
          <a:off x="0" y="3094411"/>
          <a:ext cx="6263640" cy="551655"/>
        </a:xfrm>
        <a:prstGeom prst="roundRect">
          <a:avLst/>
        </a:prstGeom>
        <a:solidFill>
          <a:schemeClr val="accent5">
            <a:hueOff val="-4224089"/>
            <a:satOff val="-10887"/>
            <a:lumOff val="-7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Real World Examples</a:t>
          </a:r>
        </a:p>
      </dsp:txBody>
      <dsp:txXfrm>
        <a:off x="26930" y="3121341"/>
        <a:ext cx="6209780" cy="497795"/>
      </dsp:txXfrm>
    </dsp:sp>
    <dsp:sp modelId="{33A3FAE8-4803-43AE-8259-FE185CB51608}">
      <dsp:nvSpPr>
        <dsp:cNvPr id="0" name=""/>
        <dsp:cNvSpPr/>
      </dsp:nvSpPr>
      <dsp:spPr>
        <a:xfrm>
          <a:off x="0" y="3712306"/>
          <a:ext cx="6263640" cy="551655"/>
        </a:xfrm>
        <a:prstGeom prst="roundRect">
          <a:avLst/>
        </a:prstGeom>
        <a:solidFill>
          <a:schemeClr val="accent5">
            <a:hueOff val="-5068907"/>
            <a:satOff val="-13064"/>
            <a:lumOff val="-882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Agile Model</a:t>
          </a:r>
        </a:p>
      </dsp:txBody>
      <dsp:txXfrm>
        <a:off x="26930" y="3739236"/>
        <a:ext cx="6209780" cy="497795"/>
      </dsp:txXfrm>
    </dsp:sp>
    <dsp:sp modelId="{2C1AE966-D98E-4FEC-97F1-8850B5729D8D}">
      <dsp:nvSpPr>
        <dsp:cNvPr id="0" name=""/>
        <dsp:cNvSpPr/>
      </dsp:nvSpPr>
      <dsp:spPr>
        <a:xfrm>
          <a:off x="0" y="4330201"/>
          <a:ext cx="6263640" cy="551655"/>
        </a:xfrm>
        <a:prstGeom prst="roundRect">
          <a:avLst/>
        </a:prstGeom>
        <a:solidFill>
          <a:schemeClr val="accent5">
            <a:hueOff val="-5913725"/>
            <a:satOff val="-15242"/>
            <a:lumOff val="-10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Agile in Projects</a:t>
          </a:r>
        </a:p>
      </dsp:txBody>
      <dsp:txXfrm>
        <a:off x="26930" y="4357131"/>
        <a:ext cx="6209780" cy="497795"/>
      </dsp:txXfrm>
    </dsp:sp>
    <dsp:sp modelId="{4AFB1881-670D-4A90-BA1E-FC908B6F56D6}">
      <dsp:nvSpPr>
        <dsp:cNvPr id="0" name=""/>
        <dsp:cNvSpPr/>
      </dsp:nvSpPr>
      <dsp:spPr>
        <a:xfrm>
          <a:off x="0" y="4948096"/>
          <a:ext cx="6263640" cy="551655"/>
        </a:xfrm>
        <a:prstGeom prst="round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Conclusion</a:t>
          </a:r>
        </a:p>
      </dsp:txBody>
      <dsp:txXfrm>
        <a:off x="26930" y="4975026"/>
        <a:ext cx="6209780" cy="49779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3ED756-4759-4EEF-BB94-C0CA7B0FA93D}">
      <dsp:nvSpPr>
        <dsp:cNvPr id="0" name=""/>
        <dsp:cNvSpPr/>
      </dsp:nvSpPr>
      <dsp:spPr>
        <a:xfrm>
          <a:off x="5871199" y="235655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C81C27-44B8-464D-B095-B4F9F282A02A}">
      <dsp:nvSpPr>
        <dsp:cNvPr id="0" name=""/>
        <dsp:cNvSpPr/>
      </dsp:nvSpPr>
      <dsp:spPr>
        <a:xfrm>
          <a:off x="5553249" y="235655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86198F9-68FE-4346-A9E1-6371D95A93FC}">
      <dsp:nvSpPr>
        <dsp:cNvPr id="0" name=""/>
        <dsp:cNvSpPr/>
      </dsp:nvSpPr>
      <dsp:spPr>
        <a:xfrm>
          <a:off x="5235299" y="235655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780FAFF-426D-4CE7-AA33-E10028B45E32}">
      <dsp:nvSpPr>
        <dsp:cNvPr id="0" name=""/>
        <dsp:cNvSpPr/>
      </dsp:nvSpPr>
      <dsp:spPr>
        <a:xfrm>
          <a:off x="4917953" y="235655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1396FEE-9635-4DCB-B943-B51CFF9803D9}">
      <dsp:nvSpPr>
        <dsp:cNvPr id="0" name=""/>
        <dsp:cNvSpPr/>
      </dsp:nvSpPr>
      <dsp:spPr>
        <a:xfrm>
          <a:off x="4600003" y="235655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91DD0B-5DF5-4577-BC2A-D0A93B70BA8A}">
      <dsp:nvSpPr>
        <dsp:cNvPr id="0" name=""/>
        <dsp:cNvSpPr/>
      </dsp:nvSpPr>
      <dsp:spPr>
        <a:xfrm>
          <a:off x="4108570" y="2269812"/>
          <a:ext cx="346964" cy="347244"/>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07408DE-0EC1-4F68-8A01-D1E9EE6A0F2A}">
      <dsp:nvSpPr>
        <dsp:cNvPr id="0" name=""/>
        <dsp:cNvSpPr/>
      </dsp:nvSpPr>
      <dsp:spPr>
        <a:xfrm>
          <a:off x="5588308" y="1998180"/>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64226F-84C8-4DD7-90EE-06C6AA7017CB}">
      <dsp:nvSpPr>
        <dsp:cNvPr id="0" name=""/>
        <dsp:cNvSpPr/>
      </dsp:nvSpPr>
      <dsp:spPr>
        <a:xfrm>
          <a:off x="5588308" y="2717493"/>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AF115BB-729D-45EB-83B0-BFE63315CBDA}">
      <dsp:nvSpPr>
        <dsp:cNvPr id="0" name=""/>
        <dsp:cNvSpPr/>
      </dsp:nvSpPr>
      <dsp:spPr>
        <a:xfrm>
          <a:off x="5743052" y="2153969"/>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C853927-D00C-4C2F-BE9B-9087222C2F71}">
      <dsp:nvSpPr>
        <dsp:cNvPr id="0" name=""/>
        <dsp:cNvSpPr/>
      </dsp:nvSpPr>
      <dsp:spPr>
        <a:xfrm>
          <a:off x="5753328" y="2562559"/>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C3E673-A8D8-4DEF-A4DA-A21696998D04}">
      <dsp:nvSpPr>
        <dsp:cNvPr id="0" name=""/>
        <dsp:cNvSpPr/>
      </dsp:nvSpPr>
      <dsp:spPr>
        <a:xfrm>
          <a:off x="2208122" y="1565051"/>
          <a:ext cx="1756584" cy="1756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r>
            <a:rPr lang="en-US" sz="2700" kern="1200" dirty="0"/>
            <a:t>Big Bang Model</a:t>
          </a:r>
          <a:endParaRPr lang="en-IN" sz="2700" kern="1200" dirty="0"/>
        </a:p>
      </dsp:txBody>
      <dsp:txXfrm>
        <a:off x="2465368" y="1822323"/>
        <a:ext cx="1242092" cy="1242222"/>
      </dsp:txXfrm>
    </dsp:sp>
    <dsp:sp modelId="{55028555-E79B-40D5-AF7F-5205E79BB910}">
      <dsp:nvSpPr>
        <dsp:cNvPr id="0" name=""/>
        <dsp:cNvSpPr/>
      </dsp:nvSpPr>
      <dsp:spPr>
        <a:xfrm>
          <a:off x="2076952" y="1414969"/>
          <a:ext cx="346964" cy="347244"/>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A50581D-545D-47DD-81B5-D13D793D9530}">
      <dsp:nvSpPr>
        <dsp:cNvPr id="0" name=""/>
        <dsp:cNvSpPr/>
      </dsp:nvSpPr>
      <dsp:spPr>
        <a:xfrm>
          <a:off x="1854508" y="1231788"/>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3448FCB-E492-4F92-A86F-5F950AA2FAD3}">
      <dsp:nvSpPr>
        <dsp:cNvPr id="0" name=""/>
        <dsp:cNvSpPr/>
      </dsp:nvSpPr>
      <dsp:spPr>
        <a:xfrm>
          <a:off x="1483969" y="1231788"/>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A6DA0E4-8FFD-437C-8AAF-3B5500B53A3B}">
      <dsp:nvSpPr>
        <dsp:cNvPr id="0" name=""/>
        <dsp:cNvSpPr/>
      </dsp:nvSpPr>
      <dsp:spPr>
        <a:xfrm>
          <a:off x="1113430" y="1231788"/>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C1CD15B-DB31-44BD-8FB6-4BCE657CB557}">
      <dsp:nvSpPr>
        <dsp:cNvPr id="0" name=""/>
        <dsp:cNvSpPr/>
      </dsp:nvSpPr>
      <dsp:spPr>
        <a:xfrm>
          <a:off x="742891" y="1231788"/>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6A794F8-4197-4C0E-A674-1F76E58CD8AE}">
      <dsp:nvSpPr>
        <dsp:cNvPr id="0" name=""/>
        <dsp:cNvSpPr/>
      </dsp:nvSpPr>
      <dsp:spPr>
        <a:xfrm>
          <a:off x="371747" y="1231788"/>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AD0C8C-122F-4587-A3B4-CBCCEB9F31FF}">
      <dsp:nvSpPr>
        <dsp:cNvPr id="0" name=""/>
        <dsp:cNvSpPr/>
      </dsp:nvSpPr>
      <dsp:spPr>
        <a:xfrm>
          <a:off x="1208" y="1231788"/>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E4823D3-430E-4024-8A71-B824B0560FA5}">
      <dsp:nvSpPr>
        <dsp:cNvPr id="0" name=""/>
        <dsp:cNvSpPr/>
      </dsp:nvSpPr>
      <dsp:spPr>
        <a:xfrm>
          <a:off x="0" y="784108"/>
          <a:ext cx="2033431" cy="4462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l" defTabSz="1200150">
            <a:lnSpc>
              <a:spcPct val="90000"/>
            </a:lnSpc>
            <a:spcBef>
              <a:spcPct val="0"/>
            </a:spcBef>
            <a:spcAft>
              <a:spcPct val="35000"/>
            </a:spcAft>
            <a:buNone/>
          </a:pPr>
          <a:r>
            <a:rPr lang="en-US" sz="2700" kern="1200" dirty="0"/>
            <a:t>Time</a:t>
          </a:r>
          <a:endParaRPr lang="en-IN" sz="2700" kern="1200" dirty="0"/>
        </a:p>
      </dsp:txBody>
      <dsp:txXfrm>
        <a:off x="0" y="784108"/>
        <a:ext cx="2033431" cy="446253"/>
      </dsp:txXfrm>
    </dsp:sp>
    <dsp:sp modelId="{35EA3125-E07A-4E94-8739-26C48F537DE8}">
      <dsp:nvSpPr>
        <dsp:cNvPr id="0" name=""/>
        <dsp:cNvSpPr/>
      </dsp:nvSpPr>
      <dsp:spPr>
        <a:xfrm>
          <a:off x="1716689" y="2269812"/>
          <a:ext cx="346964" cy="347244"/>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5F08B74-C5DE-4CDE-A19C-EDE65A299D3D}">
      <dsp:nvSpPr>
        <dsp:cNvPr id="0" name=""/>
        <dsp:cNvSpPr/>
      </dsp:nvSpPr>
      <dsp:spPr>
        <a:xfrm>
          <a:off x="1373351" y="235655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73BB44F-0ADE-4372-B122-C91597F81ADA}">
      <dsp:nvSpPr>
        <dsp:cNvPr id="0" name=""/>
        <dsp:cNvSpPr/>
      </dsp:nvSpPr>
      <dsp:spPr>
        <a:xfrm>
          <a:off x="1030618" y="235655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F0271C3-7117-449F-8585-A6DFE3996C11}">
      <dsp:nvSpPr>
        <dsp:cNvPr id="0" name=""/>
        <dsp:cNvSpPr/>
      </dsp:nvSpPr>
      <dsp:spPr>
        <a:xfrm>
          <a:off x="687280" y="235655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BC6879-61A0-45D7-A765-A47886450F61}">
      <dsp:nvSpPr>
        <dsp:cNvPr id="0" name=""/>
        <dsp:cNvSpPr/>
      </dsp:nvSpPr>
      <dsp:spPr>
        <a:xfrm>
          <a:off x="344546" y="235655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3C0055-B2AE-4FB7-9E3C-56F9DBAC21FA}">
      <dsp:nvSpPr>
        <dsp:cNvPr id="0" name=""/>
        <dsp:cNvSpPr/>
      </dsp:nvSpPr>
      <dsp:spPr>
        <a:xfrm>
          <a:off x="1208" y="235655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923E9ED-CA58-4E3F-BE09-719D11A6A2DF}">
      <dsp:nvSpPr>
        <dsp:cNvPr id="0" name=""/>
        <dsp:cNvSpPr/>
      </dsp:nvSpPr>
      <dsp:spPr>
        <a:xfrm>
          <a:off x="0" y="1912581"/>
          <a:ext cx="1537767" cy="4462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l" defTabSz="1200150">
            <a:lnSpc>
              <a:spcPct val="90000"/>
            </a:lnSpc>
            <a:spcBef>
              <a:spcPct val="0"/>
            </a:spcBef>
            <a:spcAft>
              <a:spcPct val="35000"/>
            </a:spcAft>
            <a:buNone/>
          </a:pPr>
          <a:r>
            <a:rPr lang="en-US" sz="2700" kern="1200" dirty="0"/>
            <a:t>Resource</a:t>
          </a:r>
          <a:endParaRPr lang="en-IN" sz="2700" kern="1200" dirty="0"/>
        </a:p>
      </dsp:txBody>
      <dsp:txXfrm>
        <a:off x="0" y="1912581"/>
        <a:ext cx="1537767" cy="446253"/>
      </dsp:txXfrm>
    </dsp:sp>
    <dsp:sp modelId="{9D7C5E5C-C8A1-4A9A-BB17-063F367C97E9}">
      <dsp:nvSpPr>
        <dsp:cNvPr id="0" name=""/>
        <dsp:cNvSpPr/>
      </dsp:nvSpPr>
      <dsp:spPr>
        <a:xfrm>
          <a:off x="2076952" y="3110390"/>
          <a:ext cx="346964" cy="347244"/>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A60AA1-5CE6-4969-9FD4-6128BB3BBDA2}">
      <dsp:nvSpPr>
        <dsp:cNvPr id="0" name=""/>
        <dsp:cNvSpPr/>
      </dsp:nvSpPr>
      <dsp:spPr>
        <a:xfrm>
          <a:off x="1854508" y="346391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C15A98-BDB4-4820-B48A-DE95CED2A0BD}">
      <dsp:nvSpPr>
        <dsp:cNvPr id="0" name=""/>
        <dsp:cNvSpPr/>
      </dsp:nvSpPr>
      <dsp:spPr>
        <a:xfrm>
          <a:off x="1483969" y="346391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A732A5F-9084-4AB1-8D45-2DFE556E5323}">
      <dsp:nvSpPr>
        <dsp:cNvPr id="0" name=""/>
        <dsp:cNvSpPr/>
      </dsp:nvSpPr>
      <dsp:spPr>
        <a:xfrm>
          <a:off x="1113430" y="346391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D5023AF-AAFA-4DAF-A541-1320CA83E300}">
      <dsp:nvSpPr>
        <dsp:cNvPr id="0" name=""/>
        <dsp:cNvSpPr/>
      </dsp:nvSpPr>
      <dsp:spPr>
        <a:xfrm>
          <a:off x="742891" y="346391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EA6BB1-43BC-49C9-B218-3E5AA6BB3720}">
      <dsp:nvSpPr>
        <dsp:cNvPr id="0" name=""/>
        <dsp:cNvSpPr/>
      </dsp:nvSpPr>
      <dsp:spPr>
        <a:xfrm>
          <a:off x="371747" y="346391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2B793B-4CD9-4A5A-87AC-F480508B6F34}">
      <dsp:nvSpPr>
        <dsp:cNvPr id="0" name=""/>
        <dsp:cNvSpPr/>
      </dsp:nvSpPr>
      <dsp:spPr>
        <a:xfrm>
          <a:off x="1208" y="346391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B66672-14A1-470D-8A3E-FCC0AEC27449}">
      <dsp:nvSpPr>
        <dsp:cNvPr id="0" name=""/>
        <dsp:cNvSpPr/>
      </dsp:nvSpPr>
      <dsp:spPr>
        <a:xfrm>
          <a:off x="0" y="3015946"/>
          <a:ext cx="2033431" cy="4462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l" defTabSz="1200150">
            <a:lnSpc>
              <a:spcPct val="90000"/>
            </a:lnSpc>
            <a:spcBef>
              <a:spcPct val="0"/>
            </a:spcBef>
            <a:spcAft>
              <a:spcPct val="35000"/>
            </a:spcAft>
            <a:buNone/>
          </a:pPr>
          <a:r>
            <a:rPr lang="en-US" sz="2700" kern="1200" dirty="0"/>
            <a:t>Effort</a:t>
          </a:r>
          <a:endParaRPr lang="en-IN" sz="2700" kern="1200" dirty="0"/>
        </a:p>
      </dsp:txBody>
      <dsp:txXfrm>
        <a:off x="0" y="3015946"/>
        <a:ext cx="2033431" cy="4462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E6D3A4-3749-478B-A672-7EB6764AB660}">
      <dsp:nvSpPr>
        <dsp:cNvPr id="0" name=""/>
        <dsp:cNvSpPr/>
      </dsp:nvSpPr>
      <dsp:spPr>
        <a:xfrm>
          <a:off x="0" y="69259"/>
          <a:ext cx="6666833" cy="479700"/>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Project Goals – Project Charter</a:t>
          </a:r>
        </a:p>
      </dsp:txBody>
      <dsp:txXfrm>
        <a:off x="23417" y="92676"/>
        <a:ext cx="6619999" cy="432866"/>
      </dsp:txXfrm>
    </dsp:sp>
    <dsp:sp modelId="{EBCDB698-F31E-4B4A-A149-2EBFE9ADBE2F}">
      <dsp:nvSpPr>
        <dsp:cNvPr id="0" name=""/>
        <dsp:cNvSpPr/>
      </dsp:nvSpPr>
      <dsp:spPr>
        <a:xfrm>
          <a:off x="0" y="606559"/>
          <a:ext cx="6666833" cy="479700"/>
        </a:xfrm>
        <a:prstGeom prst="roundRect">
          <a:avLst/>
        </a:prstGeom>
        <a:gradFill rotWithShape="0">
          <a:gsLst>
            <a:gs pos="0">
              <a:schemeClr val="accent5">
                <a:hueOff val="-750949"/>
                <a:satOff val="-1935"/>
                <a:lumOff val="-1307"/>
                <a:alphaOff val="0"/>
                <a:satMod val="103000"/>
                <a:lumMod val="102000"/>
                <a:tint val="94000"/>
              </a:schemeClr>
            </a:gs>
            <a:gs pos="50000">
              <a:schemeClr val="accent5">
                <a:hueOff val="-750949"/>
                <a:satOff val="-1935"/>
                <a:lumOff val="-1307"/>
                <a:alphaOff val="0"/>
                <a:satMod val="110000"/>
                <a:lumMod val="100000"/>
                <a:shade val="100000"/>
              </a:schemeClr>
            </a:gs>
            <a:gs pos="100000">
              <a:schemeClr val="accent5">
                <a:hueOff val="-750949"/>
                <a:satOff val="-1935"/>
                <a:lumOff val="-1307"/>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Project Scope  </a:t>
          </a:r>
        </a:p>
      </dsp:txBody>
      <dsp:txXfrm>
        <a:off x="23417" y="629976"/>
        <a:ext cx="6619999" cy="432866"/>
      </dsp:txXfrm>
    </dsp:sp>
    <dsp:sp modelId="{B65C1D3B-1EBE-4B3F-9CDE-D3F733A6FCBC}">
      <dsp:nvSpPr>
        <dsp:cNvPr id="0" name=""/>
        <dsp:cNvSpPr/>
      </dsp:nvSpPr>
      <dsp:spPr>
        <a:xfrm>
          <a:off x="0" y="1143859"/>
          <a:ext cx="6666833" cy="479700"/>
        </a:xfrm>
        <a:prstGeom prst="roundRect">
          <a:avLst/>
        </a:prstGeom>
        <a:gradFill rotWithShape="0">
          <a:gsLst>
            <a:gs pos="0">
              <a:schemeClr val="accent5">
                <a:hueOff val="-1501898"/>
                <a:satOff val="-3871"/>
                <a:lumOff val="-2614"/>
                <a:alphaOff val="0"/>
                <a:satMod val="103000"/>
                <a:lumMod val="102000"/>
                <a:tint val="94000"/>
              </a:schemeClr>
            </a:gs>
            <a:gs pos="50000">
              <a:schemeClr val="accent5">
                <a:hueOff val="-1501898"/>
                <a:satOff val="-3871"/>
                <a:lumOff val="-2614"/>
                <a:alphaOff val="0"/>
                <a:satMod val="110000"/>
                <a:lumMod val="100000"/>
                <a:shade val="100000"/>
              </a:schemeClr>
            </a:gs>
            <a:gs pos="100000">
              <a:schemeClr val="accent5">
                <a:hueOff val="-1501898"/>
                <a:satOff val="-3871"/>
                <a:lumOff val="-2614"/>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Milestone &amp; Major Deliverables</a:t>
          </a:r>
        </a:p>
      </dsp:txBody>
      <dsp:txXfrm>
        <a:off x="23417" y="1167276"/>
        <a:ext cx="6619999" cy="432866"/>
      </dsp:txXfrm>
    </dsp:sp>
    <dsp:sp modelId="{5EEB1CD8-0211-4D95-935B-B087F4873EE4}">
      <dsp:nvSpPr>
        <dsp:cNvPr id="0" name=""/>
        <dsp:cNvSpPr/>
      </dsp:nvSpPr>
      <dsp:spPr>
        <a:xfrm>
          <a:off x="0" y="1681159"/>
          <a:ext cx="6666833" cy="479700"/>
        </a:xfrm>
        <a:prstGeom prst="roundRect">
          <a:avLst/>
        </a:prstGeom>
        <a:gradFill rotWithShape="0">
          <a:gsLst>
            <a:gs pos="0">
              <a:schemeClr val="accent5">
                <a:hueOff val="-2252848"/>
                <a:satOff val="-5806"/>
                <a:lumOff val="-3922"/>
                <a:alphaOff val="0"/>
                <a:satMod val="103000"/>
                <a:lumMod val="102000"/>
                <a:tint val="94000"/>
              </a:schemeClr>
            </a:gs>
            <a:gs pos="50000">
              <a:schemeClr val="accent5">
                <a:hueOff val="-2252848"/>
                <a:satOff val="-5806"/>
                <a:lumOff val="-3922"/>
                <a:alphaOff val="0"/>
                <a:satMod val="110000"/>
                <a:lumMod val="100000"/>
                <a:shade val="100000"/>
              </a:schemeClr>
            </a:gs>
            <a:gs pos="100000">
              <a:schemeClr val="accent5">
                <a:hueOff val="-2252848"/>
                <a:satOff val="-5806"/>
                <a:lumOff val="-3922"/>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Work Breakdown Structure</a:t>
          </a:r>
        </a:p>
      </dsp:txBody>
      <dsp:txXfrm>
        <a:off x="23417" y="1704576"/>
        <a:ext cx="6619999" cy="432866"/>
      </dsp:txXfrm>
    </dsp:sp>
    <dsp:sp modelId="{75AB77DA-9EA8-4BFA-BAD5-10F7ABFBB4D1}">
      <dsp:nvSpPr>
        <dsp:cNvPr id="0" name=""/>
        <dsp:cNvSpPr/>
      </dsp:nvSpPr>
      <dsp:spPr>
        <a:xfrm>
          <a:off x="0" y="2218460"/>
          <a:ext cx="6666833" cy="479700"/>
        </a:xfrm>
        <a:prstGeom prst="roundRect">
          <a:avLst/>
        </a:prstGeom>
        <a:gradFill rotWithShape="0">
          <a:gsLst>
            <a:gs pos="0">
              <a:schemeClr val="accent5">
                <a:hueOff val="-3003797"/>
                <a:satOff val="-7742"/>
                <a:lumOff val="-5229"/>
                <a:alphaOff val="0"/>
                <a:satMod val="103000"/>
                <a:lumMod val="102000"/>
                <a:tint val="94000"/>
              </a:schemeClr>
            </a:gs>
            <a:gs pos="50000">
              <a:schemeClr val="accent5">
                <a:hueOff val="-3003797"/>
                <a:satOff val="-7742"/>
                <a:lumOff val="-5229"/>
                <a:alphaOff val="0"/>
                <a:satMod val="110000"/>
                <a:lumMod val="100000"/>
                <a:shade val="100000"/>
              </a:schemeClr>
            </a:gs>
            <a:gs pos="100000">
              <a:schemeClr val="accent5">
                <a:hueOff val="-3003797"/>
                <a:satOff val="-7742"/>
                <a:lumOff val="-5229"/>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Budget</a:t>
          </a:r>
        </a:p>
      </dsp:txBody>
      <dsp:txXfrm>
        <a:off x="23417" y="2241877"/>
        <a:ext cx="6619999" cy="432866"/>
      </dsp:txXfrm>
    </dsp:sp>
    <dsp:sp modelId="{25D54961-8F05-439C-BD50-5478EA5E2982}">
      <dsp:nvSpPr>
        <dsp:cNvPr id="0" name=""/>
        <dsp:cNvSpPr/>
      </dsp:nvSpPr>
      <dsp:spPr>
        <a:xfrm>
          <a:off x="0" y="2755759"/>
          <a:ext cx="6666833" cy="479700"/>
        </a:xfrm>
        <a:prstGeom prst="roundRect">
          <a:avLst/>
        </a:prstGeom>
        <a:gradFill rotWithShape="0">
          <a:gsLst>
            <a:gs pos="0">
              <a:schemeClr val="accent5">
                <a:hueOff val="-3754746"/>
                <a:satOff val="-9677"/>
                <a:lumOff val="-6536"/>
                <a:alphaOff val="0"/>
                <a:satMod val="103000"/>
                <a:lumMod val="102000"/>
                <a:tint val="94000"/>
              </a:schemeClr>
            </a:gs>
            <a:gs pos="50000">
              <a:schemeClr val="accent5">
                <a:hueOff val="-3754746"/>
                <a:satOff val="-9677"/>
                <a:lumOff val="-6536"/>
                <a:alphaOff val="0"/>
                <a:satMod val="110000"/>
                <a:lumMod val="100000"/>
                <a:shade val="100000"/>
              </a:schemeClr>
            </a:gs>
            <a:gs pos="100000">
              <a:schemeClr val="accent5">
                <a:hueOff val="-3754746"/>
                <a:satOff val="-9677"/>
                <a:lumOff val="-653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Human Resource Plan</a:t>
          </a:r>
        </a:p>
      </dsp:txBody>
      <dsp:txXfrm>
        <a:off x="23417" y="2779176"/>
        <a:ext cx="6619999" cy="432866"/>
      </dsp:txXfrm>
    </dsp:sp>
    <dsp:sp modelId="{0A4F9D03-D13C-4C42-8D5B-2455EC793A2C}">
      <dsp:nvSpPr>
        <dsp:cNvPr id="0" name=""/>
        <dsp:cNvSpPr/>
      </dsp:nvSpPr>
      <dsp:spPr>
        <a:xfrm>
          <a:off x="0" y="3293059"/>
          <a:ext cx="6666833" cy="479700"/>
        </a:xfrm>
        <a:prstGeom prst="roundRect">
          <a:avLst/>
        </a:prstGeom>
        <a:gradFill rotWithShape="0">
          <a:gsLst>
            <a:gs pos="0">
              <a:schemeClr val="accent5">
                <a:hueOff val="-4505695"/>
                <a:satOff val="-11613"/>
                <a:lumOff val="-7843"/>
                <a:alphaOff val="0"/>
                <a:satMod val="103000"/>
                <a:lumMod val="102000"/>
                <a:tint val="94000"/>
              </a:schemeClr>
            </a:gs>
            <a:gs pos="50000">
              <a:schemeClr val="accent5">
                <a:hueOff val="-4505695"/>
                <a:satOff val="-11613"/>
                <a:lumOff val="-7843"/>
                <a:alphaOff val="0"/>
                <a:satMod val="110000"/>
                <a:lumMod val="100000"/>
                <a:shade val="100000"/>
              </a:schemeClr>
            </a:gs>
            <a:gs pos="100000">
              <a:schemeClr val="accent5">
                <a:hueOff val="-4505695"/>
                <a:satOff val="-11613"/>
                <a:lumOff val="-784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Risk Management Plan</a:t>
          </a:r>
        </a:p>
      </dsp:txBody>
      <dsp:txXfrm>
        <a:off x="23417" y="3316476"/>
        <a:ext cx="6619999" cy="432866"/>
      </dsp:txXfrm>
    </dsp:sp>
    <dsp:sp modelId="{5D0C541D-D94E-453F-891B-2C40490E65E4}">
      <dsp:nvSpPr>
        <dsp:cNvPr id="0" name=""/>
        <dsp:cNvSpPr/>
      </dsp:nvSpPr>
      <dsp:spPr>
        <a:xfrm>
          <a:off x="0" y="3830359"/>
          <a:ext cx="6666833" cy="479700"/>
        </a:xfrm>
        <a:prstGeom prst="roundRect">
          <a:avLst/>
        </a:prstGeom>
        <a:gradFill rotWithShape="0">
          <a:gsLst>
            <a:gs pos="0">
              <a:schemeClr val="accent5">
                <a:hueOff val="-5256644"/>
                <a:satOff val="-13548"/>
                <a:lumOff val="-9151"/>
                <a:alphaOff val="0"/>
                <a:satMod val="103000"/>
                <a:lumMod val="102000"/>
                <a:tint val="94000"/>
              </a:schemeClr>
            </a:gs>
            <a:gs pos="50000">
              <a:schemeClr val="accent5">
                <a:hueOff val="-5256644"/>
                <a:satOff val="-13548"/>
                <a:lumOff val="-9151"/>
                <a:alphaOff val="0"/>
                <a:satMod val="110000"/>
                <a:lumMod val="100000"/>
                <a:shade val="100000"/>
              </a:schemeClr>
            </a:gs>
            <a:gs pos="100000">
              <a:schemeClr val="accent5">
                <a:hueOff val="-5256644"/>
                <a:satOff val="-13548"/>
                <a:lumOff val="-915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Communication Plan</a:t>
          </a:r>
        </a:p>
      </dsp:txBody>
      <dsp:txXfrm>
        <a:off x="23417" y="3853776"/>
        <a:ext cx="6619999" cy="432866"/>
      </dsp:txXfrm>
    </dsp:sp>
    <dsp:sp modelId="{023F7F8A-8D7E-48A7-93E6-BE11CBE1BBA5}">
      <dsp:nvSpPr>
        <dsp:cNvPr id="0" name=""/>
        <dsp:cNvSpPr/>
      </dsp:nvSpPr>
      <dsp:spPr>
        <a:xfrm>
          <a:off x="0" y="4367659"/>
          <a:ext cx="6666833" cy="479700"/>
        </a:xfrm>
        <a:prstGeom prst="roundRect">
          <a:avLst/>
        </a:prstGeom>
        <a:gradFill rotWithShape="0">
          <a:gsLst>
            <a:gs pos="0">
              <a:schemeClr val="accent5">
                <a:hueOff val="-6007594"/>
                <a:satOff val="-15484"/>
                <a:lumOff val="-10458"/>
                <a:alphaOff val="0"/>
                <a:satMod val="103000"/>
                <a:lumMod val="102000"/>
                <a:tint val="94000"/>
              </a:schemeClr>
            </a:gs>
            <a:gs pos="50000">
              <a:schemeClr val="accent5">
                <a:hueOff val="-6007594"/>
                <a:satOff val="-15484"/>
                <a:lumOff val="-10458"/>
                <a:alphaOff val="0"/>
                <a:satMod val="110000"/>
                <a:lumMod val="100000"/>
                <a:shade val="100000"/>
              </a:schemeClr>
            </a:gs>
            <a:gs pos="100000">
              <a:schemeClr val="accent5">
                <a:hueOff val="-6007594"/>
                <a:satOff val="-15484"/>
                <a:lumOff val="-1045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Stakeholder Management</a:t>
          </a:r>
        </a:p>
      </dsp:txBody>
      <dsp:txXfrm>
        <a:off x="23417" y="4391076"/>
        <a:ext cx="6619999" cy="432866"/>
      </dsp:txXfrm>
    </dsp:sp>
    <dsp:sp modelId="{A4D6ECE6-F9DA-47B8-9209-E48D02A5AFB6}">
      <dsp:nvSpPr>
        <dsp:cNvPr id="0" name=""/>
        <dsp:cNvSpPr/>
      </dsp:nvSpPr>
      <dsp:spPr>
        <a:xfrm>
          <a:off x="0" y="4904959"/>
          <a:ext cx="6666833" cy="479700"/>
        </a:xfrm>
        <a:prstGeom prst="roundRect">
          <a:avLst/>
        </a:prstGeom>
        <a:gradFill rotWithShape="0">
          <a:gsLst>
            <a:gs pos="0">
              <a:schemeClr val="accent5">
                <a:hueOff val="-6758543"/>
                <a:satOff val="-17419"/>
                <a:lumOff val="-11765"/>
                <a:alphaOff val="0"/>
                <a:satMod val="103000"/>
                <a:lumMod val="102000"/>
                <a:tint val="94000"/>
              </a:schemeClr>
            </a:gs>
            <a:gs pos="50000">
              <a:schemeClr val="accent5">
                <a:hueOff val="-6758543"/>
                <a:satOff val="-17419"/>
                <a:lumOff val="-11765"/>
                <a:alphaOff val="0"/>
                <a:satMod val="110000"/>
                <a:lumMod val="100000"/>
                <a:shade val="100000"/>
              </a:schemeClr>
            </a:gs>
            <a:gs pos="100000">
              <a:schemeClr val="accent5">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Change Management</a:t>
          </a:r>
        </a:p>
      </dsp:txBody>
      <dsp:txXfrm>
        <a:off x="23417" y="4928376"/>
        <a:ext cx="6619999" cy="43286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A3B46D-5405-44A8-B35B-A836D26AE962}">
      <dsp:nvSpPr>
        <dsp:cNvPr id="0" name=""/>
        <dsp:cNvSpPr/>
      </dsp:nvSpPr>
      <dsp:spPr>
        <a:xfrm>
          <a:off x="0" y="104633"/>
          <a:ext cx="6263640" cy="743535"/>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IN" sz="3100" kern="1200"/>
            <a:t>SCRUM Master</a:t>
          </a:r>
          <a:endParaRPr lang="en-US" sz="3100" kern="1200"/>
        </a:p>
      </dsp:txBody>
      <dsp:txXfrm>
        <a:off x="36296" y="140929"/>
        <a:ext cx="6191048" cy="670943"/>
      </dsp:txXfrm>
    </dsp:sp>
    <dsp:sp modelId="{5C5676AD-0955-43E6-BE9B-68FACAE49B15}">
      <dsp:nvSpPr>
        <dsp:cNvPr id="0" name=""/>
        <dsp:cNvSpPr/>
      </dsp:nvSpPr>
      <dsp:spPr>
        <a:xfrm>
          <a:off x="0" y="937448"/>
          <a:ext cx="6263640" cy="743535"/>
        </a:xfrm>
        <a:prstGeom prst="roundRect">
          <a:avLst/>
        </a:prstGeom>
        <a:solidFill>
          <a:schemeClr val="accent5">
            <a:hueOff val="-2252848"/>
            <a:satOff val="-5806"/>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IN" sz="3100" kern="1200"/>
            <a:t>Product Owner</a:t>
          </a:r>
          <a:endParaRPr lang="en-US" sz="3100" kern="1200"/>
        </a:p>
      </dsp:txBody>
      <dsp:txXfrm>
        <a:off x="36296" y="973744"/>
        <a:ext cx="6191048" cy="670943"/>
      </dsp:txXfrm>
    </dsp:sp>
    <dsp:sp modelId="{B89900CF-8DCB-4EEA-8149-E02CD3C4C6FC}">
      <dsp:nvSpPr>
        <dsp:cNvPr id="0" name=""/>
        <dsp:cNvSpPr/>
      </dsp:nvSpPr>
      <dsp:spPr>
        <a:xfrm>
          <a:off x="0" y="1770263"/>
          <a:ext cx="6263640" cy="743535"/>
        </a:xfrm>
        <a:prstGeom prst="roundRect">
          <a:avLst/>
        </a:prstGeom>
        <a:solidFill>
          <a:schemeClr val="accent5">
            <a:hueOff val="-4505695"/>
            <a:satOff val="-11613"/>
            <a:lumOff val="-7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a:t>Developers (DevOps)</a:t>
          </a:r>
        </a:p>
      </dsp:txBody>
      <dsp:txXfrm>
        <a:off x="36296" y="1806559"/>
        <a:ext cx="6191048" cy="670943"/>
      </dsp:txXfrm>
    </dsp:sp>
    <dsp:sp modelId="{E0AB3676-2B14-45A1-AD1F-381362AB14D6}">
      <dsp:nvSpPr>
        <dsp:cNvPr id="0" name=""/>
        <dsp:cNvSpPr/>
      </dsp:nvSpPr>
      <dsp:spPr>
        <a:xfrm>
          <a:off x="0" y="2603079"/>
          <a:ext cx="6263640" cy="743535"/>
        </a:xfrm>
        <a:prstGeom prst="round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a:t>SCRM Events </a:t>
          </a:r>
        </a:p>
      </dsp:txBody>
      <dsp:txXfrm>
        <a:off x="36296" y="2639375"/>
        <a:ext cx="6191048" cy="670943"/>
      </dsp:txXfrm>
    </dsp:sp>
    <dsp:sp modelId="{77435ED3-1DC1-4810-8100-4B7A5E8DD27D}">
      <dsp:nvSpPr>
        <dsp:cNvPr id="0" name=""/>
        <dsp:cNvSpPr/>
      </dsp:nvSpPr>
      <dsp:spPr>
        <a:xfrm>
          <a:off x="0" y="3346614"/>
          <a:ext cx="6263640" cy="2053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8871"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kern="1200"/>
            <a:t>Sprint</a:t>
          </a:r>
        </a:p>
        <a:p>
          <a:pPr marL="228600" lvl="1" indent="-228600" algn="l" defTabSz="1066800">
            <a:lnSpc>
              <a:spcPct val="90000"/>
            </a:lnSpc>
            <a:spcBef>
              <a:spcPct val="0"/>
            </a:spcBef>
            <a:spcAft>
              <a:spcPct val="20000"/>
            </a:spcAft>
            <a:buChar char="•"/>
          </a:pPr>
          <a:r>
            <a:rPr lang="en-US" sz="2400" kern="1200"/>
            <a:t>Sprint Planning</a:t>
          </a:r>
        </a:p>
        <a:p>
          <a:pPr marL="228600" lvl="1" indent="-228600" algn="l" defTabSz="1066800">
            <a:lnSpc>
              <a:spcPct val="90000"/>
            </a:lnSpc>
            <a:spcBef>
              <a:spcPct val="0"/>
            </a:spcBef>
            <a:spcAft>
              <a:spcPct val="20000"/>
            </a:spcAft>
            <a:buChar char="•"/>
          </a:pPr>
          <a:r>
            <a:rPr lang="en-US" sz="2400" kern="1200"/>
            <a:t>Daily Scrum</a:t>
          </a:r>
        </a:p>
        <a:p>
          <a:pPr marL="228600" lvl="1" indent="-228600" algn="l" defTabSz="1066800">
            <a:lnSpc>
              <a:spcPct val="90000"/>
            </a:lnSpc>
            <a:spcBef>
              <a:spcPct val="0"/>
            </a:spcBef>
            <a:spcAft>
              <a:spcPct val="20000"/>
            </a:spcAft>
            <a:buChar char="•"/>
          </a:pPr>
          <a:r>
            <a:rPr lang="en-US" sz="2400" kern="1200"/>
            <a:t>Sprint review</a:t>
          </a:r>
        </a:p>
        <a:p>
          <a:pPr marL="228600" lvl="1" indent="-228600" algn="l" defTabSz="1066800">
            <a:lnSpc>
              <a:spcPct val="90000"/>
            </a:lnSpc>
            <a:spcBef>
              <a:spcPct val="0"/>
            </a:spcBef>
            <a:spcAft>
              <a:spcPct val="20000"/>
            </a:spcAft>
            <a:buChar char="•"/>
          </a:pPr>
          <a:r>
            <a:rPr lang="en-US" sz="2400" kern="1200"/>
            <a:t>Sprint Retrospective</a:t>
          </a:r>
        </a:p>
      </dsp:txBody>
      <dsp:txXfrm>
        <a:off x="0" y="3346614"/>
        <a:ext cx="6263640" cy="205344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980390-98AA-45A5-975A-ED4A357C395A}">
      <dsp:nvSpPr>
        <dsp:cNvPr id="0" name=""/>
        <dsp:cNvSpPr/>
      </dsp:nvSpPr>
      <dsp:spPr>
        <a:xfrm>
          <a:off x="134291" y="612"/>
          <a:ext cx="4332795" cy="275132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8E3A18D-4477-4C87-A6FF-D74BDAF1ECF4}">
      <dsp:nvSpPr>
        <dsp:cNvPr id="0" name=""/>
        <dsp:cNvSpPr/>
      </dsp:nvSpPr>
      <dsp:spPr>
        <a:xfrm>
          <a:off x="615713" y="457963"/>
          <a:ext cx="4332795" cy="275132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Kanban is a popular framework used to implement </a:t>
          </a:r>
          <a:r>
            <a:rPr lang="en-US" sz="1700" kern="1200">
              <a:hlinkClick xmlns:r="http://schemas.openxmlformats.org/officeDocument/2006/relationships" r:id="rId1"/>
            </a:rPr>
            <a:t>agile</a:t>
          </a:r>
          <a:r>
            <a:rPr lang="en-US" sz="1700" kern="1200"/>
            <a:t> and </a:t>
          </a:r>
          <a:r>
            <a:rPr lang="en-US" sz="1700" kern="1200">
              <a:hlinkClick xmlns:r="http://schemas.openxmlformats.org/officeDocument/2006/relationships" r:id="rId2"/>
            </a:rPr>
            <a:t>DevOps</a:t>
          </a:r>
          <a:r>
            <a:rPr lang="en-US" sz="1700" kern="1200"/>
            <a:t> software development. It requires real-time communication of capacity and full transparency of work. Work items are represented visually on a kanban board, allowing team members to see the state of every piece of work at any time.</a:t>
          </a:r>
        </a:p>
      </dsp:txBody>
      <dsp:txXfrm>
        <a:off x="696297" y="538547"/>
        <a:ext cx="4171627" cy="2590157"/>
      </dsp:txXfrm>
    </dsp:sp>
    <dsp:sp modelId="{40D6B215-56C9-4A15-83CD-C2B1831E9F3C}">
      <dsp:nvSpPr>
        <dsp:cNvPr id="0" name=""/>
        <dsp:cNvSpPr/>
      </dsp:nvSpPr>
      <dsp:spPr>
        <a:xfrm>
          <a:off x="5429930" y="612"/>
          <a:ext cx="4332795" cy="275132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3F8EB10-9FFB-4A74-BC15-D4F5E0583F8B}">
      <dsp:nvSpPr>
        <dsp:cNvPr id="0" name=""/>
        <dsp:cNvSpPr/>
      </dsp:nvSpPr>
      <dsp:spPr>
        <a:xfrm>
          <a:off x="5911352" y="457963"/>
          <a:ext cx="4332795" cy="275132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A kanban board is an agile project management tool designed to help visualize work, limit work-in-progress, and maximize efficiency (or flow). It can help both </a:t>
          </a:r>
          <a:r>
            <a:rPr lang="en-US" sz="1700" kern="1200">
              <a:hlinkClick xmlns:r="http://schemas.openxmlformats.org/officeDocument/2006/relationships" r:id="rId1"/>
            </a:rPr>
            <a:t>agile</a:t>
          </a:r>
          <a:r>
            <a:rPr lang="en-US" sz="1700" kern="1200"/>
            <a:t> and </a:t>
          </a:r>
          <a:r>
            <a:rPr lang="en-US" sz="1700" kern="1200">
              <a:hlinkClick xmlns:r="http://schemas.openxmlformats.org/officeDocument/2006/relationships" r:id="rId2"/>
            </a:rPr>
            <a:t>DevOps</a:t>
          </a:r>
          <a:r>
            <a:rPr lang="en-US" sz="1700" kern="1200"/>
            <a:t> teams establish order in their daily work. Kanban boards use cards, columns, and continuous improvement to help technology and service teams commit to the right amount of work, and get it done!</a:t>
          </a:r>
          <a:br>
            <a:rPr lang="en-US" sz="1700" kern="1200"/>
          </a:br>
          <a:endParaRPr lang="en-US" sz="1700" kern="1200"/>
        </a:p>
      </dsp:txBody>
      <dsp:txXfrm>
        <a:off x="5991936" y="538547"/>
        <a:ext cx="4171627" cy="259015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11/layout/ConvergingText">
  <dgm:title val="Converging Text"/>
  <dgm:desc val="Use to show multiple steps or parts that merge into a whole. Limited to one Level 1 shape that contains text and a maximum of five Level 2 shapes."/>
  <dgm:catLst>
    <dgm:cat type="process" pri="6500"/>
    <dgm:cat type="officeonline" pri="50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clrData>
  <dgm:layoutNode name="Name0">
    <dgm:varLst>
      <dgm:chMax/>
      <dgm:chPref val="1"/>
      <dgm:dir/>
      <dgm:animOne val="branch"/>
      <dgm:animLvl val="lvl"/>
      <dgm:resizeHandles/>
    </dgm:varLst>
    <dgm:choose name="Name1">
      <dgm:if name="Name2" func="var" arg="dir" op="equ" val="norm">
        <dgm:alg type="lin">
          <dgm:param type="linDir" val="fromL"/>
          <dgm:param type="vertAlign" val="mid"/>
          <dgm:param type="nodeVertAlign" val="mid"/>
          <dgm:param type="horzAlign" val="ctr"/>
        </dgm:alg>
      </dgm:if>
      <dgm:else name="Name3">
        <dgm:alg type="lin">
          <dgm:param type="linDir" val="fromR"/>
          <dgm:param type="vertAlign" val="mid"/>
          <dgm:param type="nodeVertAlign" val="mid"/>
          <dgm:param type="horzAlign" val="ctr"/>
        </dgm:alg>
      </dgm:else>
    </dgm:choose>
    <dgm:shape xmlns:r="http://schemas.openxmlformats.org/officeDocument/2006/relationships" r:blip="">
      <dgm:adjLst/>
    </dgm:shape>
    <dgm:constrLst>
      <dgm:constr type="primFontSz" for="des" forName="Parent" op="equ" val="65"/>
      <dgm:constr type="primFontSz" for="des" forName="Child1" op="equ" val="65"/>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w" for="ch" forName="composite" refType="w"/>
      <dgm:constr type="h" for="ch" forName="composite" refType="h"/>
      <dgm:constr type="sp" refType="w" refFor="ch" refForName="composite" op="equ" fact="0.05"/>
      <dgm:constr type="w" for="ch" forName="sibTrans" refType="w" refFor="ch" refForName="composite" op="equ" fact="0.05"/>
      <dgm:constr type="h" for="ch" forName="sibTrans" refType="w" refFor="ch" refForName="sibTrans" op="equ"/>
    </dgm:constrLst>
    <dgm:forEach name="nodesForEach" axis="ch" ptType="node">
      <dgm:layoutNode name="composite">
        <dgm:choose name="Name4">
          <dgm:if name="Name5" func="var" arg="dir" op="equ" val="norm">
            <dgm:choose name="Name6">
              <dgm:if name="Name7" axis="ch" ptType="node" func="cnt" op="equ" val="0">
                <dgm:alg type="composite">
                  <dgm:param type="ar" val="2.1059"/>
                </dgm:alg>
                <dgm:constrLst>
                  <dgm:constr type="l" for="ch" forName="Parent" refType="w" fact="0"/>
                  <dgm:constr type="t" for="ch" forName="Parent" refType="h" fact="0"/>
                  <dgm:constr type="w" for="ch" forName="Parent" refType="w" fact="0.4749"/>
                  <dgm:constr type="h" for="ch" forName="Parent" refType="h"/>
                  <dgm:constr type="l" for="ch" forName="ParentAccent1" refType="w" fact="0.9531"/>
                  <dgm:constr type="t" for="ch" forName="ParentAccent1" refType="h" fact="0.4506"/>
                  <dgm:constr type="w" for="ch" forName="ParentAccent1" refType="w" fact="0.0469"/>
                  <dgm:constr type="h" for="ch" forName="ParentAccent1" refType="h" fact="0.0988"/>
                  <dgm:constr type="l" for="ch" forName="ParentAccent2" refType="w" fact="0.8734"/>
                  <dgm:constr type="t" for="ch" forName="ParentAccent2" refType="h" fact="0.4506"/>
                  <dgm:constr type="w" for="ch" forName="ParentAccent2" refType="w" fact="0.0469"/>
                  <dgm:constr type="h" for="ch" forName="ParentAccent2" refType="h" fact="0.0988"/>
                  <dgm:constr type="l" for="ch" forName="ParentAccent3" refType="w" fact="0.7937"/>
                  <dgm:constr type="t" for="ch" forName="ParentAccent3" refType="h" fact="0.4506"/>
                  <dgm:constr type="w" for="ch" forName="ParentAccent3" refType="w" fact="0.0469"/>
                  <dgm:constr type="h" for="ch" forName="ParentAccent3" refType="h" fact="0.0988"/>
                  <dgm:constr type="l" for="ch" forName="ParentAccent4" refType="w" fact="0.714"/>
                  <dgm:constr type="t" for="ch" forName="ParentAccent4" refType="h" fact="0.4506"/>
                  <dgm:constr type="w" for="ch" forName="ParentAccent4" refType="w" fact="0.0469"/>
                  <dgm:constr type="h" for="ch" forName="ParentAccent4" refType="h" fact="0.0988"/>
                  <dgm:constr type="l" for="ch" forName="ParentAccent5" refType="w" fact="0.6343"/>
                  <dgm:constr type="t" for="ch" forName="ParentAccent5" refType="h" fact="0.4506"/>
                  <dgm:constr type="w" for="ch" forName="ParentAccent5" refType="w" fact="0.0469"/>
                  <dgm:constr type="h" for="ch" forName="ParentAccent5" refType="h" fact="0.0988"/>
                  <dgm:constr type="l" for="ch" forName="ParentAccent6" refType="w" fact="0.5076"/>
                  <dgm:constr type="t" for="ch" forName="ParentAccent6" refType="h" fact="0.4012"/>
                  <dgm:constr type="w" for="ch" forName="ParentAccent6" refType="w" fact="0.0939"/>
                  <dgm:constr type="h" for="ch" forName="ParentAccent6" refType="h" fact="0.1976"/>
                  <dgm:constr type="l" for="ch" forName="ParentAccent7" refType="w" fact="0.8766"/>
                  <dgm:constr type="t" for="ch" forName="ParentAccent7" refType="h" fact="0.2465"/>
                  <dgm:constr type="w" for="ch" forName="ParentAccent7" refType="w" fact="0.0469"/>
                  <dgm:constr type="h" for="ch" forName="ParentAccent7" refType="h" fact="0.0988"/>
                  <dgm:constr type="l" for="ch" forName="ParentAccent8" refType="w" fact="0.8766"/>
                  <dgm:constr type="t" for="ch" forName="ParentAccent8" refType="h" fact="0.6562"/>
                  <dgm:constr type="w" for="ch" forName="ParentAccent8" refType="w" fact="0.0469"/>
                  <dgm:constr type="h" for="ch" forName="ParentAccent8" refType="h" fact="0.0988"/>
                  <dgm:constr type="l" for="ch" forName="ParentAccent9" refType="w" fact="0.9185"/>
                  <dgm:constr type="t" for="ch" forName="ParentAccent9" refType="h" fact="0.3353"/>
                  <dgm:constr type="w" for="ch" forName="ParentAccent9" refType="w" fact="0.0469"/>
                  <dgm:constr type="h" for="ch" forName="ParentAccent9" refType="h" fact="0.0988"/>
                  <dgm:constr type="l" for="ch" forName="ParentAccent10" refType="w" fact="0.9213"/>
                  <dgm:constr type="t" for="ch" forName="ParentAccent10" refType="h" fact="0.5679"/>
                  <dgm:constr type="w" for="ch" forName="ParentAccent10" refType="w" fact="0.0469"/>
                  <dgm:constr type="h" for="ch" forName="ParentAccent10" refType="h" fact="0.0988"/>
                </dgm:constrLst>
              </dgm:if>
              <dgm:if name="Name8" axis="ch" ptType="node" func="cnt" op="equ" val="1">
                <dgm:alg type="composite">
                  <dgm:param type="ar" val="3.4411"/>
                </dgm:alg>
                <dgm:constrLst>
                  <dgm:constr type="l" for="ch" forName="Child1Accent1" refType="w" fact="0.284"/>
                  <dgm:constr type="t" for="ch" forName="Child1Accent1" refType="h" fact="0.4012"/>
                  <dgm:constr type="w" for="ch" forName="Child1Accent1" refType="w" fact="0.0574"/>
                  <dgm:constr type="h" for="ch" forName="Child1Accent1" refType="h" fact="0.1976"/>
                  <dgm:constr type="l" for="ch" forName="Child1Accent2" refType="w" fact="0.2272"/>
                  <dgm:constr type="t" for="ch" forName="Child1Accent2" refType="h" fact="0.4506"/>
                  <dgm:constr type="w" for="ch" forName="Child1Accent2" refType="w" fact="0.0287"/>
                  <dgm:constr type="h" for="ch" forName="Child1Accent2" refType="h" fact="0.0988"/>
                  <dgm:constr type="l" for="ch" forName="Child1Accent3" refType="w" fact="0.1705"/>
                  <dgm:constr type="t" for="ch" forName="Child1Accent3" refType="h" fact="0.4506"/>
                  <dgm:constr type="w" for="ch" forName="Child1Accent3" refType="w" fact="0.0287"/>
                  <dgm:constr type="h" for="ch" forName="Child1Accent3" refType="h" fact="0.0988"/>
                  <dgm:constr type="l" for="ch" forName="Child1Accent4" refType="w" fact="0.1137"/>
                  <dgm:constr type="t" for="ch" forName="Child1Accent4" refType="h" fact="0.4506"/>
                  <dgm:constr type="w" for="ch" forName="Child1Accent4" refType="w" fact="0.0287"/>
                  <dgm:constr type="h" for="ch" forName="Child1Accent4" refType="h" fact="0.0988"/>
                  <dgm:constr type="l" for="ch" forName="Child1Accent5" refType="w" fact="0.057"/>
                  <dgm:constr type="t" for="ch" forName="Child1Accent5" refType="h" fact="0.4506"/>
                  <dgm:constr type="w" for="ch" forName="Child1Accent5" refType="w" fact="0.0287"/>
                  <dgm:constr type="h" for="ch" forName="Child1Accent5" refType="h" fact="0.0988"/>
                  <dgm:constr type="l" for="ch" forName="Child1Accent6" refType="w" fact="0.0002"/>
                  <dgm:constr type="t" for="ch" forName="Child1Accent6" refType="h" fact="0.4506"/>
                  <dgm:constr type="w" for="ch" forName="Child1Accent6" refType="w" fact="0.0287"/>
                  <dgm:constr type="h" for="ch" forName="Child1Accent6" refType="h" fact="0.0988"/>
                  <dgm:constr type="l" for="ch" forName="Child1Accent7" refType="w" fact="0"/>
                  <dgm:constr type="t" for="ch" forName="Child1Accent7" refType="h" fact="0"/>
                  <dgm:constr type="w" for="ch" forName="Child1Accent7" refType="w" fact="0"/>
                  <dgm:constr type="h" for="ch" forName="Child1Accent7" refType="h" fact="0"/>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ParentAccent1" refType="w" fact="0.9713"/>
                  <dgm:constr type="t" for="ch" forName="ParentAccent1" refType="h" fact="0.4506"/>
                  <dgm:constr type="w" for="ch" forName="ParentAccent1" refType="w" fact="0.0287"/>
                  <dgm:constr type="h" for="ch" forName="ParentAccent1" refType="h" fact="0.0988"/>
                  <dgm:constr type="l" for="ch" forName="ParentAccent2" refType="w" fact="0.9187"/>
                  <dgm:constr type="t" for="ch" forName="ParentAccent2" refType="h" fact="0.4506"/>
                  <dgm:constr type="w" for="ch" forName="ParentAccent2" refType="w" fact="0.0287"/>
                  <dgm:constr type="h" for="ch" forName="ParentAccent2" refType="h" fact="0.0988"/>
                  <dgm:constr type="l" for="ch" forName="ParentAccent3" refType="w" fact="0.8661"/>
                  <dgm:constr type="t" for="ch" forName="ParentAccent3" refType="h" fact="0.4506"/>
                  <dgm:constr type="w" for="ch" forName="ParentAccent3" refType="w" fact="0.0287"/>
                  <dgm:constr type="h" for="ch" forName="ParentAccent3" refType="h" fact="0.0988"/>
                  <dgm:constr type="l" for="ch" forName="ParentAccent4" refType="w" fact="0.8136"/>
                  <dgm:constr type="t" for="ch" forName="ParentAccent4" refType="h" fact="0.4506"/>
                  <dgm:constr type="w" for="ch" forName="ParentAccent4" refType="w" fact="0.0287"/>
                  <dgm:constr type="h" for="ch" forName="ParentAccent4" refType="h" fact="0.0988"/>
                  <dgm:constr type="l" for="ch" forName="ParentAccent5" refType="w" fact="0.761"/>
                  <dgm:constr type="t" for="ch" forName="ParentAccent5" refType="h" fact="0.4506"/>
                  <dgm:constr type="w" for="ch" forName="ParentAccent5" refType="w" fact="0.0287"/>
                  <dgm:constr type="h" for="ch" forName="ParentAccent5" refType="h" fact="0.0988"/>
                  <dgm:constr type="l" for="ch" forName="ParentAccent6" refType="w" fact="0.6797"/>
                  <dgm:constr type="t" for="ch" forName="ParentAccent6" refType="h" fact="0.4012"/>
                  <dgm:constr type="w" for="ch" forName="ParentAccent6" refType="w" fact="0.0574"/>
                  <dgm:constr type="h" for="ch" forName="ParentAccent6" refType="h" fact="0.1976"/>
                  <dgm:constr type="l" for="ch" forName="ParentAccent7" refType="w" fact="0.9245"/>
                  <dgm:constr type="t" for="ch" forName="ParentAccent7" refType="h" fact="0.2465"/>
                  <dgm:constr type="w" for="ch" forName="ParentAccent7" refType="w" fact="0.0287"/>
                  <dgm:constr type="h" for="ch" forName="ParentAccent7" refType="h" fact="0.0988"/>
                  <dgm:constr type="l" for="ch" forName="ParentAccent8" refType="w" fact="0.9245"/>
                  <dgm:constr type="t" for="ch" forName="ParentAccent8" refType="h" fact="0.6562"/>
                  <dgm:constr type="w" for="ch" forName="ParentAccent8" refType="w" fact="0.0287"/>
                  <dgm:constr type="h" for="ch" forName="ParentAccent8" refType="h" fact="0.0988"/>
                  <dgm:constr type="l" for="ch" forName="ParentAccent9" refType="w" fact="0.9501"/>
                  <dgm:constr type="t" for="ch" forName="ParentAccent9" refType="h" fact="0.3353"/>
                  <dgm:constr type="w" for="ch" forName="ParentAccent9" refType="w" fact="0.0287"/>
                  <dgm:constr type="h" for="ch" forName="ParentAccent9" refType="h" fact="0.0988"/>
                  <dgm:constr type="l" for="ch" forName="ParentAccent10" refType="w" fact="0.9518"/>
                  <dgm:constr type="t" for="ch" forName="ParentAccent10" refType="h" fact="0.5679"/>
                  <dgm:constr type="w" for="ch" forName="ParentAccent10" refType="w" fact="0.0287"/>
                  <dgm:constr type="h" for="ch" forName="ParentAccent10" refType="h" fact="0.0988"/>
                  <dgm:constr type="l" for="ch" forName="Child1" refType="w" fact="0"/>
                  <dgm:constr type="t" for="ch" forName="Child1" refType="h" fact="0.1978"/>
                  <dgm:constr type="w" for="ch" forName="Child1" refType="w" fact="0.2544"/>
                  <dgm:constr type="h" for="ch" forName="Child1" refType="h" fact="0.2541"/>
                  <dgm:constr type="l" for="ch" forName="Parent" refType="w" fact="0.3653"/>
                  <dgm:constr type="t" for="ch" forName="Parent" refType="h" fact="0"/>
                  <dgm:constr type="w" for="ch" forName="Parent" refType="w" fact="0.2906"/>
                  <dgm:constr type="h" for="ch" forName="Parent" refType="h"/>
                </dgm:constrLst>
              </dgm:if>
              <dgm:if name="Name9" axis="ch" ptType="node" func="cnt" op="equ" val="2">
                <dgm:alg type="composite">
                  <dgm:param type="ar" val="2.1185"/>
                </dgm:alg>
                <dgm:constrLst>
                  <dgm:constr type="l" for="ch" forName="Child1Accent1" refType="w" fact="0.3436"/>
                  <dgm:constr type="t" for="ch" forName="Child1Accent1" refType="h" fact="0.2211"/>
                  <dgm:constr type="w" for="ch" forName="Child1Accent1" refType="w" fact="0.0574"/>
                  <dgm:constr type="h" for="ch" forName="Child1Accent1" refType="h" fact="0.1217"/>
                  <dgm:constr type="l" for="ch" forName="Child1Accent2" refType="w" fact="0.3068"/>
                  <dgm:constr type="t" for="ch" forName="Child1Accent2" refType="h" fact="0.1569"/>
                  <dgm:constr type="w" for="ch" forName="Child1Accent2" refType="w" fact="0.0287"/>
                  <dgm:constr type="h" for="ch" forName="Child1Accent2" refType="h" fact="0.0608"/>
                  <dgm:constr type="l" for="ch" forName="Child1Accent3" refType="w" fact="0.2455"/>
                  <dgm:constr type="t" for="ch" forName="Child1Accent3" refType="h" fact="0.1569"/>
                  <dgm:constr type="w" for="ch" forName="Child1Accent3" refType="w" fact="0.0287"/>
                  <dgm:constr type="h" for="ch" forName="Child1Accent3" refType="h" fact="0.0608"/>
                  <dgm:constr type="l" for="ch" forName="Child1Accent4" refType="w" fact="0.1842"/>
                  <dgm:constr type="t" for="ch" forName="Child1Accent4" refType="h" fact="0.1569"/>
                  <dgm:constr type="w" for="ch" forName="Child1Accent4" refType="w" fact="0.0287"/>
                  <dgm:constr type="h" for="ch" forName="Child1Accent4" refType="h" fact="0.0608"/>
                  <dgm:constr type="l" for="ch" forName="Child1Accent5" refType="w" fact="0.1229"/>
                  <dgm:constr type="t" for="ch" forName="Child1Accent5" refType="h" fact="0.1569"/>
                  <dgm:constr type="w" for="ch" forName="Child1Accent5" refType="w" fact="0.0287"/>
                  <dgm:constr type="h" for="ch" forName="Child1Accent5" refType="h" fact="0.0608"/>
                  <dgm:constr type="l" for="ch" forName="Child1Accent6" refType="w" fact="0.0615"/>
                  <dgm:constr type="t" for="ch" forName="Child1Accent6" refType="h" fact="0.1569"/>
                  <dgm:constr type="w" for="ch" forName="Child1Accent6" refType="w" fact="0.0287"/>
                  <dgm:constr type="h" for="ch" forName="Child1Accent6" refType="h" fact="0.0608"/>
                  <dgm:constr type="l" for="ch" forName="Child1Accent7" refType="w" fact="0.0002"/>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Child2Accent1" refType="w" fact="0.3436"/>
                  <dgm:constr type="t" for="ch" forName="Child2Accent1" refType="h" fact="0.8153"/>
                  <dgm:constr type="w" for="ch" forName="Child2Accent1" refType="w" fact="0.0574"/>
                  <dgm:constr type="h" for="ch" forName="Child2Accent1" refType="h" fact="0.1217"/>
                  <dgm:constr type="l" for="ch" forName="Child2Accent2" refType="w" fact="0.3068"/>
                  <dgm:constr type="t" for="ch" forName="Child2Accent2" refType="h" fact="0.9392"/>
                  <dgm:constr type="w" for="ch" forName="Child2Accent2" refType="w" fact="0.0287"/>
                  <dgm:constr type="h" for="ch" forName="Child2Accent2" refType="h" fact="0.0608"/>
                  <dgm:constr type="l" for="ch" forName="Child2Accent3" refType="w" fact="0.2455"/>
                  <dgm:constr type="t" for="ch" forName="Child2Accent3" refType="h" fact="0.9392"/>
                  <dgm:constr type="w" for="ch" forName="Child2Accent3" refType="w" fact="0.0287"/>
                  <dgm:constr type="h" for="ch" forName="Child2Accent3" refType="h" fact="0.0608"/>
                  <dgm:constr type="l" for="ch" forName="Child2Accent4" refType="w" fact="0.1842"/>
                  <dgm:constr type="t" for="ch" forName="Child2Accent4" refType="h" fact="0.9392"/>
                  <dgm:constr type="w" for="ch" forName="Child2Accent4" refType="w" fact="0.0287"/>
                  <dgm:constr type="h" for="ch" forName="Child2Accent4" refType="h" fact="0.0608"/>
                  <dgm:constr type="l" for="ch" forName="Child2Accent5" refType="w" fact="0.1229"/>
                  <dgm:constr type="t" for="ch" forName="Child2Accent5" refType="h" fact="0.9392"/>
                  <dgm:constr type="w" for="ch" forName="Child2Accent5" refType="w" fact="0.0287"/>
                  <dgm:constr type="h" for="ch" forName="Child2Accent5" refType="h" fact="0.0608"/>
                  <dgm:constr type="l" for="ch" forName="Child2Accent6" refType="w" fact="0.0615"/>
                  <dgm:constr type="t" for="ch" forName="Child2Accent6" refType="h" fact="0.9392"/>
                  <dgm:constr type="w" for="ch" forName="Child2Accent6" refType="w" fact="0.0287"/>
                  <dgm:constr type="h" for="ch" forName="Child2Accent6" refType="h" fact="0.0608"/>
                  <dgm:constr type="l" for="ch" forName="Child2Accent7" refType="w" fact="0.0002"/>
                  <dgm:constr type="t" for="ch" forName="Child2Accent7" refType="h" fact="0.9392"/>
                  <dgm:constr type="w" for="ch" forName="Child2Accent7" refType="w" fact="0.0287"/>
                  <dgm:constr type="h" for="ch" forName="Child2Accent7" refType="h" fact="0.0608"/>
                  <dgm:constr type="l" for="ch" forName="ParentAccent1" refType="w" fact="0.9713"/>
                  <dgm:constr type="t" for="ch" forName="ParentAccent1" refType="h" fact="0.5511"/>
                  <dgm:constr type="w" for="ch" forName="ParentAccent1" refType="w" fact="0.0287"/>
                  <dgm:constr type="h" for="ch" forName="ParentAccent1" refType="h" fact="0.0608"/>
                  <dgm:constr type="l" for="ch" forName="ParentAccent2" refType="w" fact="0.9187"/>
                  <dgm:constr type="t" for="ch" forName="ParentAccent2" refType="h" fact="0.5511"/>
                  <dgm:constr type="w" for="ch" forName="ParentAccent2" refType="w" fact="0.0287"/>
                  <dgm:constr type="h" for="ch" forName="ParentAccent2" refType="h" fact="0.0608"/>
                  <dgm:constr type="l" for="ch" forName="ParentAccent3" refType="w" fact="0.8661"/>
                  <dgm:constr type="t" for="ch" forName="ParentAccent3" refType="h" fact="0.5511"/>
                  <dgm:constr type="w" for="ch" forName="ParentAccent3" refType="w" fact="0.0287"/>
                  <dgm:constr type="h" for="ch" forName="ParentAccent3" refType="h" fact="0.0608"/>
                  <dgm:constr type="l" for="ch" forName="ParentAccent4" refType="w" fact="0.8136"/>
                  <dgm:constr type="t" for="ch" forName="ParentAccent4" refType="h" fact="0.5511"/>
                  <dgm:constr type="w" for="ch" forName="ParentAccent4" refType="w" fact="0.0287"/>
                  <dgm:constr type="h" for="ch" forName="ParentAccent4" refType="h" fact="0.0608"/>
                  <dgm:constr type="l" for="ch" forName="ParentAccent5" refType="w" fact="0.761"/>
                  <dgm:constr type="t" for="ch" forName="ParentAccent5" refType="h" fact="0.5511"/>
                  <dgm:constr type="w" for="ch" forName="ParentAccent5" refType="w" fact="0.0287"/>
                  <dgm:constr type="h" for="ch" forName="ParentAccent5" refType="h" fact="0.0608"/>
                  <dgm:constr type="l" for="ch" forName="ParentAccent6" refType="w" fact="0.6797"/>
                  <dgm:constr type="t" for="ch" forName="ParentAccent6" refType="h" fact="0.5207"/>
                  <dgm:constr type="w" for="ch" forName="ParentAccent6" refType="w" fact="0.0574"/>
                  <dgm:constr type="h" for="ch" forName="ParentAccent6" refType="h" fact="0.1217"/>
                  <dgm:constr type="l" for="ch" forName="ParentAccent7" refType="w" fact="0.9245"/>
                  <dgm:constr type="t" for="ch" forName="ParentAccent7" refType="h" fact="0.4255"/>
                  <dgm:constr type="w" for="ch" forName="ParentAccent7" refType="w" fact="0.0287"/>
                  <dgm:constr type="h" for="ch" forName="ParentAccent7" refType="h" fact="0.0608"/>
                  <dgm:constr type="l" for="ch" forName="ParentAccent8" refType="w" fact="0.9245"/>
                  <dgm:constr type="t" for="ch" forName="ParentAccent8" refType="h" fact="0.6776"/>
                  <dgm:constr type="w" for="ch" forName="ParentAccent8" refType="w" fact="0.0287"/>
                  <dgm:constr type="h" for="ch" forName="ParentAccent8" refType="h" fact="0.0608"/>
                  <dgm:constr type="l" for="ch" forName="ParentAccent9" refType="w" fact="0.9501"/>
                  <dgm:constr type="t" for="ch" forName="ParentAccent9" refType="h" fact="0.4801"/>
                  <dgm:constr type="w" for="ch" forName="ParentAccent9" refType="w" fact="0.0287"/>
                  <dgm:constr type="h" for="ch" forName="ParentAccent9" refType="h" fact="0.0608"/>
                  <dgm:constr type="l" for="ch" forName="ParentAccent10" refType="w" fact="0.9518"/>
                  <dgm:constr type="t" for="ch" forName="ParentAccent10" refType="h" fact="0.6233"/>
                  <dgm:constr type="w" for="ch" forName="ParentAccent10" refType="w" fact="0.0287"/>
                  <dgm:constr type="h" for="ch" forName="ParentAccent10" refType="h" fact="0.0608"/>
                  <dgm:constr type="l" for="ch" forName="Child2" refType="w" fact="0"/>
                  <dgm:constr type="t" for="ch" forName="Child2" refType="h" fact="0.7822"/>
                  <dgm:constr type="w" for="ch" forName="Child2" refType="w" fact="0.3364"/>
                  <dgm:constr type="h" for="ch" forName="Child2" refType="h" fact="0.1564"/>
                  <dgm:constr type="l" for="ch" forName="Child1" refType="w" fact="0"/>
                  <dgm:constr type="t" for="ch" forName="Child1" refType="h" fact="0"/>
                  <dgm:constr type="w" for="ch" forName="Child1" refType="w" fact="0.3364"/>
                  <dgm:constr type="h" for="ch" forName="Child1" refType="h" fact="0.1564"/>
                  <dgm:constr type="l" for="ch" forName="Parent" refType="w" fact="0.3653"/>
                  <dgm:constr type="t" for="ch" forName="Parent" refType="h" fact="0.2737"/>
                  <dgm:constr type="w" for="ch" forName="Parent" refType="w" fact="0.2906"/>
                  <dgm:constr type="h" for="ch" forName="Parent" refType="h" fact="0.6157"/>
                </dgm:constrLst>
              </dgm:if>
              <dgm:if name="Name10" axis="ch" ptType="node" func="cnt" op="equ" val="3">
                <dgm:alg type="composite">
                  <dgm:param type="ar" val="2.1185"/>
                </dgm:alg>
                <dgm:constrLst>
                  <dgm:constr type="l" for="ch" forName="Child1Accent1" refType="w" fact="0.3436"/>
                  <dgm:constr type="t" for="ch" forName="Child1Accent1" refType="h" fact="0.2211"/>
                  <dgm:constr type="w" for="ch" forName="Child1Accent1" refType="w" fact="0.0574"/>
                  <dgm:constr type="h" for="ch" forName="Child1Accent1" refType="h" fact="0.1217"/>
                  <dgm:constr type="l" for="ch" forName="Child1Accent2" refType="w" fact="0.3068"/>
                  <dgm:constr type="t" for="ch" forName="Child1Accent2" refType="h" fact="0.1569"/>
                  <dgm:constr type="w" for="ch" forName="Child1Accent2" refType="w" fact="0.0287"/>
                  <dgm:constr type="h" for="ch" forName="Child1Accent2" refType="h" fact="0.0608"/>
                  <dgm:constr type="l" for="ch" forName="Child1Accent3" refType="w" fact="0.2455"/>
                  <dgm:constr type="t" for="ch" forName="Child1Accent3" refType="h" fact="0.1569"/>
                  <dgm:constr type="w" for="ch" forName="Child1Accent3" refType="w" fact="0.0287"/>
                  <dgm:constr type="h" for="ch" forName="Child1Accent3" refType="h" fact="0.0608"/>
                  <dgm:constr type="l" for="ch" forName="Child1Accent4" refType="w" fact="0.1842"/>
                  <dgm:constr type="t" for="ch" forName="Child1Accent4" refType="h" fact="0.1569"/>
                  <dgm:constr type="w" for="ch" forName="Child1Accent4" refType="w" fact="0.0287"/>
                  <dgm:constr type="h" for="ch" forName="Child1Accent4" refType="h" fact="0.0608"/>
                  <dgm:constr type="l" for="ch" forName="Child1Accent5" refType="w" fact="0.1229"/>
                  <dgm:constr type="t" for="ch" forName="Child1Accent5" refType="h" fact="0.1569"/>
                  <dgm:constr type="w" for="ch" forName="Child1Accent5" refType="w" fact="0.0287"/>
                  <dgm:constr type="h" for="ch" forName="Child1Accent5" refType="h" fact="0.0608"/>
                  <dgm:constr type="l" for="ch" forName="Child2Accent1" refType="w" fact="0.284"/>
                  <dgm:constr type="t" for="ch" forName="Child2Accent1" refType="h" fact="0.5207"/>
                  <dgm:constr type="w" for="ch" forName="Child2Accent1" refType="w" fact="0.0574"/>
                  <dgm:constr type="h" for="ch" forName="Child2Accent1" refType="h" fact="0.1217"/>
                  <dgm:constr type="l" for="ch" forName="Child2Accent2" refType="w" fact="0.2272"/>
                  <dgm:constr type="t" for="ch" forName="Child2Accent2" refType="h" fact="0.5511"/>
                  <dgm:constr type="w" for="ch" forName="Child2Accent2" refType="w" fact="0.0287"/>
                  <dgm:constr type="h" for="ch" forName="Child2Accent2" refType="h" fact="0.0608"/>
                  <dgm:constr type="l" for="ch" forName="Child2Accent3" refType="w" fact="0.1705"/>
                  <dgm:constr type="t" for="ch" forName="Child2Accent3" refType="h" fact="0.5511"/>
                  <dgm:constr type="w" for="ch" forName="Child2Accent3" refType="w" fact="0.0287"/>
                  <dgm:constr type="h" for="ch" forName="Child2Accent3" refType="h" fact="0.0608"/>
                  <dgm:constr type="l" for="ch" forName="Child2Accent4" refType="w" fact="0.1137"/>
                  <dgm:constr type="t" for="ch" forName="Child2Accent4" refType="h" fact="0.5511"/>
                  <dgm:constr type="w" for="ch" forName="Child2Accent4" refType="w" fact="0.0287"/>
                  <dgm:constr type="h" for="ch" forName="Child2Accent4" refType="h" fact="0.0608"/>
                  <dgm:constr type="l" for="ch" forName="Child1Accent6" refType="w" fact="0.0615"/>
                  <dgm:constr type="t" for="ch" forName="Child1Accent6" refType="h" fact="0.1569"/>
                  <dgm:constr type="w" for="ch" forName="Child1Accent6" refType="w" fact="0.0287"/>
                  <dgm:constr type="h" for="ch" forName="Child1Accent6" refType="h" fact="0.0608"/>
                  <dgm:constr type="l" for="ch" forName="Child2Accent5" refType="w" fact="0.057"/>
                  <dgm:constr type="t" for="ch" forName="Child2Accent5" refType="h" fact="0.5511"/>
                  <dgm:constr type="w" for="ch" forName="Child2Accent5" refType="w" fact="0.0287"/>
                  <dgm:constr type="h" for="ch" forName="Child2Accent5" refType="h" fact="0.0608"/>
                  <dgm:constr type="l" for="ch" forName="Child1Accent7" refType="w" fact="0.0002"/>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Child2Accent6" refType="w" fact="0.0002"/>
                  <dgm:constr type="t" for="ch" forName="Child2Accent6" refType="h" fact="0.5511"/>
                  <dgm:constr type="w" for="ch" forName="Child2Accent6" refType="w" fact="0.0287"/>
                  <dgm:constr type="h" for="ch" forName="Child2Accent6" refType="h" fact="0.0608"/>
                  <dgm:constr type="l" for="ch" forName="Child2Accent7" refType="w" fact="0"/>
                  <dgm:constr type="t" for="ch" forName="Child2Accent7" refType="h" fact="0"/>
                  <dgm:constr type="w" for="ch" forName="Child2Accent7" refType="w" fact="0"/>
                  <dgm:constr type="h" for="ch" forName="Child2Accent7" refType="h" fact="0"/>
                  <dgm:constr type="l" for="ch" forName="Child3Accent1" refType="w" fact="0.3436"/>
                  <dgm:constr type="t" for="ch" forName="Child3Accent1" refType="h" fact="0.8153"/>
                  <dgm:constr type="w" for="ch" forName="Child3Accent1" refType="w" fact="0.0574"/>
                  <dgm:constr type="h" for="ch" forName="Child3Accent1" refType="h" fact="0.1217"/>
                  <dgm:constr type="l" for="ch" forName="Child3Accent2" refType="w" fact="0.3068"/>
                  <dgm:constr type="t" for="ch" forName="Child3Accent2" refType="h" fact="0.9392"/>
                  <dgm:constr type="w" for="ch" forName="Child3Accent2" refType="w" fact="0.0287"/>
                  <dgm:constr type="h" for="ch" forName="Child3Accent2" refType="h" fact="0.0608"/>
                  <dgm:constr type="l" for="ch" forName="Child3Accent3" refType="w" fact="0.2455"/>
                  <dgm:constr type="t" for="ch" forName="Child3Accent3" refType="h" fact="0.9392"/>
                  <dgm:constr type="w" for="ch" forName="Child3Accent3" refType="w" fact="0.0287"/>
                  <dgm:constr type="h" for="ch" forName="Child3Accent3" refType="h" fact="0.0608"/>
                  <dgm:constr type="l" for="ch" forName="Child3Accent4" refType="w" fact="0.1842"/>
                  <dgm:constr type="t" for="ch" forName="Child3Accent4" refType="h" fact="0.9392"/>
                  <dgm:constr type="w" for="ch" forName="Child3Accent4" refType="w" fact="0.0287"/>
                  <dgm:constr type="h" for="ch" forName="Child3Accent4" refType="h" fact="0.0608"/>
                  <dgm:constr type="l" for="ch" forName="Child3Accent5" refType="w" fact="0.1229"/>
                  <dgm:constr type="t" for="ch" forName="Child3Accent5" refType="h" fact="0.9392"/>
                  <dgm:constr type="w" for="ch" forName="Child3Accent5" refType="w" fact="0.0287"/>
                  <dgm:constr type="h" for="ch" forName="Child3Accent5" refType="h" fact="0.0608"/>
                  <dgm:constr type="l" for="ch" forName="Child3Accent6" refType="w" fact="0.0615"/>
                  <dgm:constr type="t" for="ch" forName="Child3Accent6" refType="h" fact="0.9392"/>
                  <dgm:constr type="w" for="ch" forName="Child3Accent6" refType="w" fact="0.0287"/>
                  <dgm:constr type="h" for="ch" forName="Child3Accent6" refType="h" fact="0.0608"/>
                  <dgm:constr type="l" for="ch" forName="Child3Accent7" refType="w" fact="0.0002"/>
                  <dgm:constr type="t" for="ch" forName="Child3Accent7" refType="h" fact="0.9392"/>
                  <dgm:constr type="w" for="ch" forName="Child3Accent7" refType="w" fact="0.0287"/>
                  <dgm:constr type="h" for="ch" forName="Child3Accent7" refType="h" fact="0.0608"/>
                  <dgm:constr type="l" for="ch" forName="ParentAccent1" refType="w" fact="0.9713"/>
                  <dgm:constr type="t" for="ch" forName="ParentAccent1" refType="h" fact="0.5511"/>
                  <dgm:constr type="w" for="ch" forName="ParentAccent1" refType="w" fact="0.0287"/>
                  <dgm:constr type="h" for="ch" forName="ParentAccent1" refType="h" fact="0.0608"/>
                  <dgm:constr type="l" for="ch" forName="ParentAccent2" refType="w" fact="0.9187"/>
                  <dgm:constr type="t" for="ch" forName="ParentAccent2" refType="h" fact="0.5511"/>
                  <dgm:constr type="w" for="ch" forName="ParentAccent2" refType="w" fact="0.0287"/>
                  <dgm:constr type="h" for="ch" forName="ParentAccent2" refType="h" fact="0.0608"/>
                  <dgm:constr type="l" for="ch" forName="ParentAccent3" refType="w" fact="0.8661"/>
                  <dgm:constr type="t" for="ch" forName="ParentAccent3" refType="h" fact="0.5511"/>
                  <dgm:constr type="w" for="ch" forName="ParentAccent3" refType="w" fact="0.0287"/>
                  <dgm:constr type="h" for="ch" forName="ParentAccent3" refType="h" fact="0.0608"/>
                  <dgm:constr type="l" for="ch" forName="ParentAccent4" refType="w" fact="0.8136"/>
                  <dgm:constr type="t" for="ch" forName="ParentAccent4" refType="h" fact="0.5511"/>
                  <dgm:constr type="w" for="ch" forName="ParentAccent4" refType="w" fact="0.0287"/>
                  <dgm:constr type="h" for="ch" forName="ParentAccent4" refType="h" fact="0.0608"/>
                  <dgm:constr type="l" for="ch" forName="ParentAccent5" refType="w" fact="0.761"/>
                  <dgm:constr type="t" for="ch" forName="ParentAccent5" refType="h" fact="0.5511"/>
                  <dgm:constr type="w" for="ch" forName="ParentAccent5" refType="w" fact="0.0287"/>
                  <dgm:constr type="h" for="ch" forName="ParentAccent5" refType="h" fact="0.0608"/>
                  <dgm:constr type="l" for="ch" forName="ParentAccent6" refType="w" fact="0.6797"/>
                  <dgm:constr type="t" for="ch" forName="ParentAccent6" refType="h" fact="0.5207"/>
                  <dgm:constr type="w" for="ch" forName="ParentAccent6" refType="w" fact="0.0574"/>
                  <dgm:constr type="h" for="ch" forName="ParentAccent6" refType="h" fact="0.1217"/>
                  <dgm:constr type="l" for="ch" forName="ParentAccent7" refType="w" fact="0.9245"/>
                  <dgm:constr type="t" for="ch" forName="ParentAccent7" refType="h" fact="0.4255"/>
                  <dgm:constr type="w" for="ch" forName="ParentAccent7" refType="w" fact="0.0287"/>
                  <dgm:constr type="h" for="ch" forName="ParentAccent7" refType="h" fact="0.0608"/>
                  <dgm:constr type="l" for="ch" forName="ParentAccent8" refType="w" fact="0.9245"/>
                  <dgm:constr type="t" for="ch" forName="ParentAccent8" refType="h" fact="0.6776"/>
                  <dgm:constr type="w" for="ch" forName="ParentAccent8" refType="w" fact="0.0287"/>
                  <dgm:constr type="h" for="ch" forName="ParentAccent8" refType="h" fact="0.0608"/>
                  <dgm:constr type="l" for="ch" forName="ParentAccent9" refType="w" fact="0.9501"/>
                  <dgm:constr type="t" for="ch" forName="ParentAccent9" refType="h" fact="0.4801"/>
                  <dgm:constr type="w" for="ch" forName="ParentAccent9" refType="w" fact="0.0287"/>
                  <dgm:constr type="h" for="ch" forName="ParentAccent9" refType="h" fact="0.0608"/>
                  <dgm:constr type="l" for="ch" forName="ParentAccent10" refType="w" fact="0.9518"/>
                  <dgm:constr type="t" for="ch" forName="ParentAccent10" refType="h" fact="0.6233"/>
                  <dgm:constr type="w" for="ch" forName="ParentAccent10" refType="w" fact="0.0287"/>
                  <dgm:constr type="h" for="ch" forName="ParentAccent10" refType="h" fact="0.0608"/>
                  <dgm:constr type="l" for="ch" forName="Child3" refType="w" fact="0"/>
                  <dgm:constr type="t" for="ch" forName="Child3" refType="h" fact="0.7822"/>
                  <dgm:constr type="w" for="ch" forName="Child3" refType="w" fact="0.3364"/>
                  <dgm:constr type="h" for="ch" forName="Child3" refType="h" fact="0.1564"/>
                  <dgm:constr type="l" for="ch" forName="Child2" refType="w" fact="0"/>
                  <dgm:constr type="t" for="ch" forName="Child2" refType="h" fact="0.3955"/>
                  <dgm:constr type="w" for="ch" forName="Child2" refType="w" fact="0.2544"/>
                  <dgm:constr type="h" for="ch" forName="Child2" refType="h" fact="0.1564"/>
                  <dgm:constr type="l" for="ch" forName="Child1" refType="w" fact="0"/>
                  <dgm:constr type="t" for="ch" forName="Child1" refType="h" fact="0"/>
                  <dgm:constr type="w" for="ch" forName="Child1" refType="w" fact="0.3364"/>
                  <dgm:constr type="h" for="ch" forName="Child1" refType="h" fact="0.1564"/>
                  <dgm:constr type="l" for="ch" forName="Parent" refType="w" fact="0.3653"/>
                  <dgm:constr type="t" for="ch" forName="Parent" refType="h" fact="0.2737"/>
                  <dgm:constr type="w" for="ch" forName="Parent" refType="w" fact="0.2906"/>
                  <dgm:constr type="h" for="ch" forName="Parent" refType="h" fact="0.6157"/>
                </dgm:constrLst>
              </dgm:if>
              <dgm:if name="Name11" axis="ch" ptType="node" func="cnt" op="equ" val="4">
                <dgm:alg type="composite">
                  <dgm:param type="ar" val="1.8304"/>
                </dgm:alg>
                <dgm:constrLst>
                  <dgm:constr type="l" for="ch" forName="Parent" refType="w" fact="0.3771"/>
                  <dgm:constr type="t" for="ch" forName="Parent" refType="h" fact="0.2946"/>
                  <dgm:constr type="w" for="ch" forName="Parent" refType="w" fact="0.2862"/>
                  <dgm:constr type="h" for="ch" forName="Parent" refType="h" fact="0.5239"/>
                  <dgm:constr type="l" for="ch" forName="Child1Accent1" refType="w" fact="0.3904"/>
                  <dgm:constr type="t" for="ch" forName="Child1Accent1" refType="h" fact="0.2104"/>
                  <dgm:constr type="w" for="ch" forName="Child1Accent1" refType="w" fact="0.0566"/>
                  <dgm:constr type="h" for="ch" forName="Child1Accent1" refType="h" fact="0.1035"/>
                  <dgm:constr type="l" for="ch" forName="Child1Accent3" refType="w" fact="0.3001"/>
                  <dgm:constr type="t" for="ch" forName="Child1Accent3" refType="h" fact="0.128"/>
                  <dgm:constr type="w" for="ch" forName="Child1Accent3" refType="w" fact="0.0283"/>
                  <dgm:constr type="h" for="ch" forName="Child1Accent3" refType="h" fact="0.0518"/>
                  <dgm:constr type="l" for="ch" forName="Child1Accent4" refType="w" fact="0.2418"/>
                  <dgm:constr type="t" for="ch" forName="Child1Accent4" refType="h" fact="0.128"/>
                  <dgm:constr type="w" for="ch" forName="Child1Accent4" refType="w" fact="0.0283"/>
                  <dgm:constr type="h" for="ch" forName="Child1Accent4" refType="h" fact="0.0518"/>
                  <dgm:constr type="l" for="ch" forName="Child1Accent5" refType="w" fact="0.1835"/>
                  <dgm:constr type="t" for="ch" forName="Child1Accent5" refType="h" fact="0.128"/>
                  <dgm:constr type="w" for="ch" forName="Child1Accent5" refType="w" fact="0.0283"/>
                  <dgm:constr type="h" for="ch" forName="Child1Accent5" refType="h" fact="0.0518"/>
                  <dgm:constr type="l" for="ch" forName="Child1Accent6" refType="w" fact="0.1252"/>
                  <dgm:constr type="t" for="ch" forName="Child1Accent6" refType="h" fact="0.128"/>
                  <dgm:constr type="w" for="ch" forName="Child1Accent6" refType="w" fact="0.0283"/>
                  <dgm:constr type="h" for="ch" forName="Child1Accent6" refType="h" fact="0.0518"/>
                  <dgm:constr type="l" for="ch" forName="Child3Accent1" refType="w" fact="0.3158"/>
                  <dgm:constr type="t" for="ch" forName="Child3Accent1" refType="h" fact="0.6212"/>
                  <dgm:constr type="w" for="ch" forName="Child3Accent1" refType="w" fact="0.0566"/>
                  <dgm:constr type="h" for="ch" forName="Child3Accent1" refType="h" fact="0.1035"/>
                  <dgm:constr type="l" for="ch" forName="Child3Accent2" refType="w" fact="0.2689"/>
                  <dgm:constr type="t" for="ch" forName="Child3Accent2" refType="h" fact="0.6828"/>
                  <dgm:constr type="w" for="ch" forName="Child3Accent2" refType="w" fact="0.0283"/>
                  <dgm:constr type="h" for="ch" forName="Child3Accent2" refType="h" fact="0.0518"/>
                  <dgm:constr type="l" for="ch" forName="Child3Accent4" refType="w" fact="0.1614"/>
                  <dgm:constr type="t" for="ch" forName="Child3Accent4" refType="h" fact="0.6828"/>
                  <dgm:constr type="w" for="ch" forName="Child3Accent4" refType="w" fact="0.0283"/>
                  <dgm:constr type="h" for="ch" forName="Child3Accent4" refType="h" fact="0.0518"/>
                  <dgm:constr type="l" for="ch" forName="Child3Accent5" refType="w" fact="0.1077"/>
                  <dgm:constr type="t" for="ch" forName="Child3Accent5" refType="h" fact="0.6828"/>
                  <dgm:constr type="w" for="ch" forName="Child3Accent5" refType="w" fact="0.0283"/>
                  <dgm:constr type="h" for="ch" forName="Child3Accent5" refType="h" fact="0.0518"/>
                  <dgm:constr type="l" for="ch" forName="Child1Accent7" refType="w" fact="0.0668"/>
                  <dgm:constr type="t" for="ch" forName="Child1Accent7" refType="h" fact="0.128"/>
                  <dgm:constr type="w" for="ch" forName="Child1Accent7" refType="w" fact="0.0283"/>
                  <dgm:constr type="h" for="ch" forName="Child1Accent7" refType="h" fact="0.0518"/>
                  <dgm:constr type="l" for="ch" forName="Child3Accent6" refType="w" fact="0.0539"/>
                  <dgm:constr type="t" for="ch" forName="Child3Accent6" refType="h" fact="0.6828"/>
                  <dgm:constr type="w" for="ch" forName="Child3Accent6" refType="w" fact="0.0283"/>
                  <dgm:constr type="h" for="ch" forName="Child3Accent6" refType="h" fact="0.0518"/>
                  <dgm:constr type="l" for="ch" forName="Child1Accent8" refType="w" fact="0.0085"/>
                  <dgm:constr type="t" for="ch" forName="Child1Accent8" refType="h" fact="0.128"/>
                  <dgm:constr type="w" for="ch" forName="Child1Accent8" refType="w" fact="0.0283"/>
                  <dgm:constr type="h" for="ch" forName="Child1Accent8" refType="h" fact="0.0518"/>
                  <dgm:constr type="l" for="ch" forName="Child1Accent9" refType="w" fact="0"/>
                  <dgm:constr type="t" for="ch" forName="Child1Accent9" refType="h" fact="0"/>
                  <dgm:constr type="w" for="ch" forName="Child1Accent9" refType="w" fact="0"/>
                  <dgm:constr type="h" for="ch" forName="Child1Accent9" refType="h" fact="0"/>
                  <dgm:constr type="l" for="ch" forName="Child3Accent7" refType="w" fact="0.0002"/>
                  <dgm:constr type="t" for="ch" forName="Child3Accent7" refType="h" fact="0.6828"/>
                  <dgm:constr type="w" for="ch" forName="Child3Accent7" refType="w" fact="0.0283"/>
                  <dgm:constr type="h" for="ch" forName="Child3Accent7" refType="h" fact="0.0518"/>
                  <dgm:constr type="l" for="ch" forName="Child4Accent1" refType="w" fact="0.3904"/>
                  <dgm:constr type="t" for="ch" forName="Child4Accent1" refType="h" fact="0.8"/>
                  <dgm:constr type="w" for="ch" forName="Child4Accent1" refType="w" fact="0.0566"/>
                  <dgm:constr type="h" for="ch" forName="Child4Accent1" refType="h" fact="0.1035"/>
                  <dgm:constr type="l" for="ch" forName="Child4Accent3" refType="w" fact="0.2998"/>
                  <dgm:constr type="t" for="ch" forName="Child4Accent3" refType="h" fact="0.9482"/>
                  <dgm:constr type="w" for="ch" forName="Child4Accent3" refType="w" fact="0.0283"/>
                  <dgm:constr type="h" for="ch" forName="Child4Accent3" refType="h" fact="0.0518"/>
                  <dgm:constr type="l" for="ch" forName="Child4Accent4" refType="w" fact="0.2415"/>
                  <dgm:constr type="t" for="ch" forName="Child4Accent4" refType="h" fact="0.9482"/>
                  <dgm:constr type="w" for="ch" forName="Child4Accent4" refType="w" fact="0.0283"/>
                  <dgm:constr type="h" for="ch" forName="Child4Accent4" refType="h" fact="0.0518"/>
                  <dgm:constr type="l" for="ch" forName="Child4Accent5" refType="w" fact="0.1833"/>
                  <dgm:constr type="t" for="ch" forName="Child4Accent5" refType="h" fact="0.9482"/>
                  <dgm:constr type="w" for="ch" forName="Child4Accent5" refType="w" fact="0.0283"/>
                  <dgm:constr type="h" for="ch" forName="Child4Accent5" refType="h" fact="0.0518"/>
                  <dgm:constr type="l" for="ch" forName="Child4Accent6" refType="w" fact="0.1251"/>
                  <dgm:constr type="t" for="ch" forName="Child4Accent6" refType="h" fact="0.9482"/>
                  <dgm:constr type="w" for="ch" forName="Child4Accent6" refType="w" fact="0.0283"/>
                  <dgm:constr type="h" for="ch" forName="Child4Accent6" refType="h" fact="0.0518"/>
                  <dgm:constr type="l" for="ch" forName="Child4Accent7" refType="w" fact="0.0668"/>
                  <dgm:constr type="t" for="ch" forName="Child4Accent7" refType="h" fact="0.9482"/>
                  <dgm:constr type="w" for="ch" forName="Child4Accent7" refType="w" fact="0.0283"/>
                  <dgm:constr type="h" for="ch" forName="Child4Accent7" refType="h" fact="0.0518"/>
                  <dgm:constr type="l" for="ch" forName="Child4Accent8" refType="w" fact="0.0086"/>
                  <dgm:constr type="t" for="ch" forName="Child4Accent8" refType="h" fact="0.9482"/>
                  <dgm:constr type="w" for="ch" forName="Child4Accent8" refType="w" fact="0.0283"/>
                  <dgm:constr type="h" for="ch" forName="Child4Accent8" refType="h" fact="0.0518"/>
                  <dgm:constr type="l" for="ch" forName="Child2Accent1" refType="w" fact="0.3158"/>
                  <dgm:constr type="t" for="ch" forName="Child2Accent1" refType="h" fact="0.3725"/>
                  <dgm:constr type="w" for="ch" forName="Child2Accent1" refType="w" fact="0.0566"/>
                  <dgm:constr type="h" for="ch" forName="Child2Accent1" refType="h" fact="0.1035"/>
                  <dgm:constr type="l" for="ch" forName="Child4Accent2" refType="w" fact="0.358"/>
                  <dgm:constr type="t" for="ch" forName="Child4Accent2" refType="h" fact="0.8993"/>
                  <dgm:constr type="w" for="ch" forName="Child4Accent2" refType="w" fact="0.0283"/>
                  <dgm:constr type="h" for="ch" forName="Child4Accent2" refType="h" fact="0.0518"/>
                  <dgm:constr type="l" for="ch" forName="Child1Accent2" refType="w" fact="0.3585"/>
                  <dgm:constr type="t" for="ch" forName="Child1Accent2" refType="h" fact="0.162"/>
                  <dgm:constr type="w" for="ch" forName="Child1Accent2" refType="w" fact="0.0283"/>
                  <dgm:constr type="h" for="ch" forName="Child1Accent2" refType="h" fact="0.0518"/>
                  <dgm:constr type="l" for="ch" forName="Child3Accent3" refType="w" fact="0.2151"/>
                  <dgm:constr type="t" for="ch" forName="Child3Accent3" refType="h" fact="0.6828"/>
                  <dgm:constr type="w" for="ch" forName="Child3Accent3" refType="w" fact="0.0283"/>
                  <dgm:constr type="h" for="ch" forName="Child3Accent3" refType="h" fact="0.0518"/>
                  <dgm:constr type="l" for="ch" forName="Child2Accent2" refType="w" fact="0.2689"/>
                  <dgm:constr type="t" for="ch" forName="Child2Accent2" refType="h" fact="0.3937"/>
                  <dgm:constr type="w" for="ch" forName="Child2Accent2" refType="w" fact="0.0283"/>
                  <dgm:constr type="h" for="ch" forName="Child2Accent2" refType="h" fact="0.0518"/>
                  <dgm:constr type="l" for="ch" forName="Child2Accent4" refType="w" fact="0.1614"/>
                  <dgm:constr type="t" for="ch" forName="Child2Accent4" refType="h" fact="0.3937"/>
                  <dgm:constr type="w" for="ch" forName="Child2Accent4" refType="w" fact="0.0283"/>
                  <dgm:constr type="h" for="ch" forName="Child2Accent4" refType="h" fact="0.0518"/>
                  <dgm:constr type="l" for="ch" forName="Child2Accent5" refType="w" fact="0.1077"/>
                  <dgm:constr type="t" for="ch" forName="Child2Accent5" refType="h" fact="0.3937"/>
                  <dgm:constr type="w" for="ch" forName="Child2Accent5" refType="w" fact="0.0283"/>
                  <dgm:constr type="h" for="ch" forName="Child2Accent5" refType="h" fact="0.0518"/>
                  <dgm:constr type="l" for="ch" forName="Child2Accent6" refType="w" fact="0.0539"/>
                  <dgm:constr type="t" for="ch" forName="Child2Accent6" refType="h" fact="0.3937"/>
                  <dgm:constr type="w" for="ch" forName="Child2Accent6" refType="w" fact="0.0283"/>
                  <dgm:constr type="h" for="ch" forName="Child2Accent6" refType="h" fact="0.0518"/>
                  <dgm:constr type="l" for="ch" forName="Child2Accent7" refType="w" fact="0.0002"/>
                  <dgm:constr type="t" for="ch" forName="Child2Accent7" refType="h" fact="0.3937"/>
                  <dgm:constr type="w" for="ch" forName="Child2Accent7" refType="w" fact="0.0283"/>
                  <dgm:constr type="h" for="ch" forName="Child2Accent7" refType="h" fact="0.0518"/>
                  <dgm:constr type="l" for="ch" forName="Child2Accent3" refType="w" fact="0.2151"/>
                  <dgm:constr type="t" for="ch" forName="Child2Accent3" refType="h" fact="0.3937"/>
                  <dgm:constr type="w" for="ch" forName="Child2Accent3" refType="w" fact="0.0283"/>
                  <dgm:constr type="h" for="ch" forName="Child2Accent3" refType="h" fact="0.0518"/>
                  <dgm:constr type="l" for="ch" forName="ParentAccent1" refType="w" fact="0.9717"/>
                  <dgm:constr type="t" for="ch" forName="ParentAccent1" refType="h" fact="0.5316"/>
                  <dgm:constr type="w" for="ch" forName="ParentAccent1" refType="w" fact="0.0283"/>
                  <dgm:constr type="h" for="ch" forName="ParentAccent1" refType="h" fact="0.0518"/>
                  <dgm:constr type="l" for="ch" forName="ParentAccent2" refType="w" fact="0.9199"/>
                  <dgm:constr type="t" for="ch" forName="ParentAccent2" refType="h" fact="0.5316"/>
                  <dgm:constr type="w" for="ch" forName="ParentAccent2" refType="w" fact="0.0283"/>
                  <dgm:constr type="h" for="ch" forName="ParentAccent2" refType="h" fact="0.0518"/>
                  <dgm:constr type="l" for="ch" forName="ParentAccent3" refType="w" fact="0.8682"/>
                  <dgm:constr type="t" for="ch" forName="ParentAccent3" refType="h" fact="0.5316"/>
                  <dgm:constr type="w" for="ch" forName="ParentAccent3" refType="w" fact="0.0283"/>
                  <dgm:constr type="h" for="ch" forName="ParentAccent3" refType="h" fact="0.0518"/>
                  <dgm:constr type="l" for="ch" forName="ParentAccent4" refType="w" fact="0.8164"/>
                  <dgm:constr type="t" for="ch" forName="ParentAccent4" refType="h" fact="0.5316"/>
                  <dgm:constr type="w" for="ch" forName="ParentAccent4" refType="w" fact="0.0283"/>
                  <dgm:constr type="h" for="ch" forName="ParentAccent4" refType="h" fact="0.0518"/>
                  <dgm:constr type="l" for="ch" forName="ParentAccent5" refType="w" fact="0.7646"/>
                  <dgm:constr type="t" for="ch" forName="ParentAccent5" refType="h" fact="0.5316"/>
                  <dgm:constr type="w" for="ch" forName="ParentAccent5" refType="w" fact="0.0283"/>
                  <dgm:constr type="h" for="ch" forName="ParentAccent5" refType="h" fact="0.0518"/>
                  <dgm:constr type="l" for="ch" forName="ParentAccent6" refType="w" fact="0.6846"/>
                  <dgm:constr type="t" for="ch" forName="ParentAccent6" refType="h" fact="0.5057"/>
                  <dgm:constr type="w" for="ch" forName="ParentAccent6" refType="w" fact="0.0566"/>
                  <dgm:constr type="h" for="ch" forName="ParentAccent6" refType="h" fact="0.1035"/>
                  <dgm:constr type="l" for="ch" forName="ParentAccent7" refType="w" fact="0.9256"/>
                  <dgm:constr type="t" for="ch" forName="ParentAccent7" refType="h" fact="0.4247"/>
                  <dgm:constr type="w" for="ch" forName="ParentAccent7" refType="w" fact="0.0283"/>
                  <dgm:constr type="h" for="ch" forName="ParentAccent7" refType="h" fact="0.0518"/>
                  <dgm:constr type="l" for="ch" forName="ParentAccent8" refType="w" fact="0.9256"/>
                  <dgm:constr type="t" for="ch" forName="ParentAccent8" refType="h" fact="0.6392"/>
                  <dgm:constr type="w" for="ch" forName="ParentAccent8" refType="w" fact="0.0283"/>
                  <dgm:constr type="h" for="ch" forName="ParentAccent8" refType="h" fact="0.0518"/>
                  <dgm:constr type="l" for="ch" forName="ParentAccent9" refType="w" fact="0.9509"/>
                  <dgm:constr type="t" for="ch" forName="ParentAccent9" refType="h" fact="0.4712"/>
                  <dgm:constr type="w" for="ch" forName="ParentAccent9" refType="w" fact="0.0283"/>
                  <dgm:constr type="h" for="ch" forName="ParentAccent9" refType="h" fact="0.0518"/>
                  <dgm:constr type="l" for="ch" forName="ParentAccent10" refType="w" fact="0.9525"/>
                  <dgm:constr type="t" for="ch" forName="ParentAccent10" refType="h" fact="0.593"/>
                  <dgm:constr type="w" for="ch" forName="ParentAccent10" refType="w" fact="0.0283"/>
                  <dgm:constr type="h" for="ch" forName="ParentAccent10" refType="h" fact="0.0518"/>
                  <dgm:constr type="l" for="ch" forName="Child4" refType="w" fact="0.0081"/>
                  <dgm:constr type="t" for="ch" forName="Child4" refType="h" fact="0.8184"/>
                  <dgm:constr type="w" for="ch" forName="Child4" refType="w" fact="0.3192"/>
                  <dgm:constr type="h" for="ch" forName="Child4" refType="h" fact="0.1294"/>
                  <dgm:constr type="l" for="ch" forName="Child3" refType="w" fact="0"/>
                  <dgm:constr type="t" for="ch" forName="Child3" refType="h" fact="0.5547"/>
                  <dgm:constr type="w" for="ch" forName="Child3" refType="w" fact="0.297"/>
                  <dgm:constr type="h" for="ch" forName="Child3" refType="h" fact="0.1294"/>
                  <dgm:constr type="l" for="ch" forName="Child2" refType="w" fact="0"/>
                  <dgm:constr type="t" for="ch" forName="Child2" refType="h" fact="0.2662"/>
                  <dgm:constr type="w" for="ch" forName="Child2" refType="w" fact="0.297"/>
                  <dgm:constr type="h" for="ch" forName="Child2" refType="h" fact="0.1294"/>
                  <dgm:constr type="l" for="ch" forName="Child1" refType="w" fact="0.0081"/>
                  <dgm:constr type="t" for="ch" forName="Child1" refType="h" fact="0"/>
                  <dgm:constr type="w" for="ch" forName="Child1" refType="w" fact="0.3192"/>
                  <dgm:constr type="h" for="ch" forName="Child1" refType="h" fact="0.1294"/>
                </dgm:constrLst>
              </dgm:if>
              <dgm:else name="Name12">
                <dgm:alg type="composite">
                  <dgm:param type="ar" val="1.3278"/>
                </dgm:alg>
                <dgm:constrLst>
                  <dgm:constr type="l" for="ch" forName="Child2Accent1" refType="w" fact="0.3436"/>
                  <dgm:constr type="t" for="ch" forName="Child2Accent1" refType="h" fact="0.3184"/>
                  <dgm:constr type="w" for="ch" forName="Child2Accent1" refType="w" fact="0.0574"/>
                  <dgm:constr type="h" for="ch" forName="Child2Accent1" refType="h" fact="0.0763"/>
                  <dgm:constr type="l" for="ch" forName="Child2Accent2" refType="w" fact="0.3068"/>
                  <dgm:constr type="t" for="ch" forName="Child2Accent2" refType="h" fact="0.2781"/>
                  <dgm:constr type="w" for="ch" forName="Child2Accent2" refType="w" fact="0.0287"/>
                  <dgm:constr type="h" for="ch" forName="Child2Accent2" refType="h" fact="0.0381"/>
                  <dgm:constr type="l" for="ch" forName="Child2Accent3" refType="w" fact="0.2455"/>
                  <dgm:constr type="t" for="ch" forName="Child2Accent3" refType="h" fact="0.2781"/>
                  <dgm:constr type="w" for="ch" forName="Child2Accent3" refType="w" fact="0.0287"/>
                  <dgm:constr type="h" for="ch" forName="Child2Accent3" refType="h" fact="0.0381"/>
                  <dgm:constr type="l" for="ch" forName="Child2Accent4" refType="w" fact="0.1842"/>
                  <dgm:constr type="t" for="ch" forName="Child2Accent4" refType="h" fact="0.2781"/>
                  <dgm:constr type="w" for="ch" forName="Child2Accent4" refType="w" fact="0.0287"/>
                  <dgm:constr type="h" for="ch" forName="Child2Accent4" refType="h" fact="0.0381"/>
                  <dgm:constr type="l" for="ch" forName="Child2Accent5" refType="w" fact="0.1229"/>
                  <dgm:constr type="t" for="ch" forName="Child2Accent5" refType="h" fact="0.2781"/>
                  <dgm:constr type="w" for="ch" forName="Child2Accent5" refType="w" fact="0.0287"/>
                  <dgm:constr type="h" for="ch" forName="Child2Accent5" refType="h" fact="0.0381"/>
                  <dgm:constr type="l" for="ch" forName="Child3Accent1" refType="w" fact="0.284"/>
                  <dgm:constr type="t" for="ch" forName="Child3Accent1" refType="h" fact="0.5061"/>
                  <dgm:constr type="w" for="ch" forName="Child3Accent1" refType="w" fact="0.0574"/>
                  <dgm:constr type="h" for="ch" forName="Child3Accent1" refType="h" fact="0.0763"/>
                  <dgm:constr type="l" for="ch" forName="Child3Accent2" refType="w" fact="0.2272"/>
                  <dgm:constr type="t" for="ch" forName="Child3Accent2" refType="h" fact="0.5252"/>
                  <dgm:constr type="w" for="ch" forName="Child3Accent2" refType="w" fact="0.0287"/>
                  <dgm:constr type="h" for="ch" forName="Child3Accent2" refType="h" fact="0.0381"/>
                  <dgm:constr type="l" for="ch" forName="Child3Accent3" refType="w" fact="0.1705"/>
                  <dgm:constr type="t" for="ch" forName="Child3Accent3" refType="h" fact="0.5252"/>
                  <dgm:constr type="w" for="ch" forName="Child3Accent3" refType="w" fact="0.0287"/>
                  <dgm:constr type="h" for="ch" forName="Child3Accent3" refType="h" fact="0.0381"/>
                  <dgm:constr type="l" for="ch" forName="Child3Accent4" refType="w" fact="0.1137"/>
                  <dgm:constr type="t" for="ch" forName="Child3Accent4" refType="h" fact="0.5252"/>
                  <dgm:constr type="w" for="ch" forName="Child3Accent4" refType="w" fact="0.0287"/>
                  <dgm:constr type="h" for="ch" forName="Child3Accent4" refType="h" fact="0.0381"/>
                  <dgm:constr type="l" for="ch" forName="Child2Accent6" refType="w" fact="0.0615"/>
                  <dgm:constr type="t" for="ch" forName="Child2Accent6" refType="h" fact="0.2781"/>
                  <dgm:constr type="w" for="ch" forName="Child2Accent6" refType="w" fact="0.0287"/>
                  <dgm:constr type="h" for="ch" forName="Child2Accent6" refType="h" fact="0.0381"/>
                  <dgm:constr type="l" for="ch" forName="Child3Accent5" refType="w" fact="0.057"/>
                  <dgm:constr type="t" for="ch" forName="Child3Accent5" refType="h" fact="0.5252"/>
                  <dgm:constr type="w" for="ch" forName="Child3Accent5" refType="w" fact="0.0287"/>
                  <dgm:constr type="h" for="ch" forName="Child3Accent5" refType="h" fact="0.0381"/>
                  <dgm:constr type="l" for="ch" forName="Child2Accent7" refType="w" fact="0.0002"/>
                  <dgm:constr type="t" for="ch" forName="Child2Accent7" refType="h" fact="0.2781"/>
                  <dgm:constr type="w" for="ch" forName="Child2Accent7" refType="w" fact="0.0287"/>
                  <dgm:constr type="h" for="ch" forName="Child2Accent7" refType="h" fact="0.0381"/>
                  <dgm:constr type="l" for="ch" forName="Child3Accent6" refType="w" fact="0.0002"/>
                  <dgm:constr type="t" for="ch" forName="Child3Accent6" refType="h" fact="0.5252"/>
                  <dgm:constr type="w" for="ch" forName="Child3Accent6" refType="w" fact="0.0287"/>
                  <dgm:constr type="h" for="ch" forName="Child3Accent6" refType="h" fact="0.0381"/>
                  <dgm:constr type="l" for="ch" forName="Child3Accent7" refType="w" fact="0"/>
                  <dgm:constr type="t" for="ch" forName="Child3Accent7" refType="h" fact="0"/>
                  <dgm:constr type="w" for="ch" forName="Child3Accent7" refType="w" fact="0"/>
                  <dgm:constr type="h" for="ch" forName="Child3Accent7" refType="h" fact="0"/>
                  <dgm:constr type="l" for="ch" forName="Child4Accent1" refType="w" fact="0.3436"/>
                  <dgm:constr type="t" for="ch" forName="Child4Accent1" refType="h" fact="0.6908"/>
                  <dgm:constr type="w" for="ch" forName="Child4Accent1" refType="w" fact="0.0574"/>
                  <dgm:constr type="h" for="ch" forName="Child4Accent1" refType="h" fact="0.0763"/>
                  <dgm:constr type="l" for="ch" forName="Child4Accent2" refType="w" fact="0.3068"/>
                  <dgm:constr type="t" for="ch" forName="Child4Accent2" refType="h" fact="0.7684"/>
                  <dgm:constr type="w" for="ch" forName="Child4Accent2" refType="w" fact="0.0287"/>
                  <dgm:constr type="h" for="ch" forName="Child4Accent2" refType="h" fact="0.0381"/>
                  <dgm:constr type="l" for="ch" forName="Child4Accent3" refType="w" fact="0.2455"/>
                  <dgm:constr type="t" for="ch" forName="Child4Accent3" refType="h" fact="0.7684"/>
                  <dgm:constr type="w" for="ch" forName="Child4Accent3" refType="w" fact="0.0287"/>
                  <dgm:constr type="h" for="ch" forName="Child4Accent3" refType="h" fact="0.0381"/>
                  <dgm:constr type="l" for="ch" forName="Child4Accent4" refType="w" fact="0.1842"/>
                  <dgm:constr type="t" for="ch" forName="Child4Accent4" refType="h" fact="0.7684"/>
                  <dgm:constr type="w" for="ch" forName="Child4Accent4" refType="w" fact="0.0287"/>
                  <dgm:constr type="h" for="ch" forName="Child4Accent4" refType="h" fact="0.0381"/>
                  <dgm:constr type="l" for="ch" forName="Child4Accent5" refType="w" fact="0.1229"/>
                  <dgm:constr type="t" for="ch" forName="Child4Accent5" refType="h" fact="0.7684"/>
                  <dgm:constr type="w" for="ch" forName="Child4Accent5" refType="w" fact="0.0287"/>
                  <dgm:constr type="h" for="ch" forName="Child4Accent5" refType="h" fact="0.0381"/>
                  <dgm:constr type="l" for="ch" forName="Child4Accent6" refType="w" fact="0.0615"/>
                  <dgm:constr type="t" for="ch" forName="Child4Accent6" refType="h" fact="0.7684"/>
                  <dgm:constr type="w" for="ch" forName="Child4Accent6" refType="w" fact="0.0287"/>
                  <dgm:constr type="h" for="ch" forName="Child4Accent6" refType="h" fact="0.0381"/>
                  <dgm:constr type="l" for="ch" forName="Child4Accent7" refType="w" fact="0.0002"/>
                  <dgm:constr type="t" for="ch" forName="Child4Accent7" refType="h" fact="0.7684"/>
                  <dgm:constr type="w" for="ch" forName="Child4Accent7" refType="w" fact="0.0287"/>
                  <dgm:constr type="h" for="ch" forName="Child4Accent7" refType="h" fact="0.0381"/>
                  <dgm:constr type="l" for="ch" forName="Child4Accent8" refType="w" fact="0"/>
                  <dgm:constr type="t" for="ch" forName="Child4Accent8" refType="h" fact="0"/>
                  <dgm:constr type="w" for="ch" forName="Child4Accent8" refType="w" fact="0"/>
                  <dgm:constr type="h" for="ch" forName="Child4Accent8" refType="h" fact="0"/>
                  <dgm:constr type="l" for="ch" forName="ParentAccent1" refType="w" fact="0.9713"/>
                  <dgm:constr type="t" for="ch" forName="ParentAccent1" refType="h" fact="0.5252"/>
                  <dgm:constr type="w" for="ch" forName="ParentAccent1" refType="w" fact="0.0287"/>
                  <dgm:constr type="h" for="ch" forName="ParentAccent1" refType="h" fact="0.0381"/>
                  <dgm:constr type="l" for="ch" forName="ParentAccent2" refType="w" fact="0.9187"/>
                  <dgm:constr type="t" for="ch" forName="ParentAccent2" refType="h" fact="0.5252"/>
                  <dgm:constr type="w" for="ch" forName="ParentAccent2" refType="w" fact="0.0287"/>
                  <dgm:constr type="h" for="ch" forName="ParentAccent2" refType="h" fact="0.0381"/>
                  <dgm:constr type="l" for="ch" forName="ParentAccent3" refType="w" fact="0.8661"/>
                  <dgm:constr type="t" for="ch" forName="ParentAccent3" refType="h" fact="0.5252"/>
                  <dgm:constr type="w" for="ch" forName="ParentAccent3" refType="w" fact="0.0287"/>
                  <dgm:constr type="h" for="ch" forName="ParentAccent3" refType="h" fact="0.0381"/>
                  <dgm:constr type="l" for="ch" forName="ParentAccent4" refType="w" fact="0.8136"/>
                  <dgm:constr type="t" for="ch" forName="ParentAccent4" refType="h" fact="0.5252"/>
                  <dgm:constr type="w" for="ch" forName="ParentAccent4" refType="w" fact="0.0287"/>
                  <dgm:constr type="h" for="ch" forName="ParentAccent4" refType="h" fact="0.0381"/>
                  <dgm:constr type="l" for="ch" forName="ParentAccent5" refType="w" fact="0.761"/>
                  <dgm:constr type="t" for="ch" forName="ParentAccent5" refType="h" fact="0.5252"/>
                  <dgm:constr type="w" for="ch" forName="ParentAccent5" refType="w" fact="0.0287"/>
                  <dgm:constr type="h" for="ch" forName="ParentAccent5" refType="h" fact="0.0381"/>
                  <dgm:constr type="l" for="ch" forName="ParentAccent6" refType="w" fact="0.6797"/>
                  <dgm:constr type="t" for="ch" forName="ParentAccent6" refType="h" fact="0.5061"/>
                  <dgm:constr type="w" for="ch" forName="ParentAccent6" refType="w" fact="0.0574"/>
                  <dgm:constr type="h" for="ch" forName="ParentAccent6" refType="h" fact="0.0763"/>
                  <dgm:constr type="l" for="ch" forName="ParentAccent7" refType="w" fact="0.9245"/>
                  <dgm:constr type="t" for="ch" forName="ParentAccent7" refType="h" fact="0.4464"/>
                  <dgm:constr type="w" for="ch" forName="ParentAccent7" refType="w" fact="0.0287"/>
                  <dgm:constr type="h" for="ch" forName="ParentAccent7" refType="h" fact="0.0381"/>
                  <dgm:constr type="l" for="ch" forName="ParentAccent8" refType="w" fact="0.9245"/>
                  <dgm:constr type="t" for="ch" forName="ParentAccent8" refType="h" fact="0.6045"/>
                  <dgm:constr type="w" for="ch" forName="ParentAccent8" refType="w" fact="0.0287"/>
                  <dgm:constr type="h" for="ch" forName="ParentAccent8" refType="h" fact="0.0381"/>
                  <dgm:constr type="l" for="ch" forName="ParentAccent9" refType="w" fact="0.9501"/>
                  <dgm:constr type="t" for="ch" forName="ParentAccent9" refType="h" fact="0.4807"/>
                  <dgm:constr type="w" for="ch" forName="ParentAccent9" refType="w" fact="0.0287"/>
                  <dgm:constr type="h" for="ch" forName="ParentAccent9" refType="h" fact="0.0381"/>
                  <dgm:constr type="l" for="ch" forName="ParentAccent10" refType="w" fact="0.9518"/>
                  <dgm:constr type="t" for="ch" forName="ParentAccent10" refType="h" fact="0.5705"/>
                  <dgm:constr type="w" for="ch" forName="ParentAccent10" refType="w" fact="0.0287"/>
                  <dgm:constr type="h" for="ch" forName="ParentAccent10" refType="h" fact="0.0381"/>
                  <dgm:constr type="l" for="ch" forName="Child1Accent1" refType="w" fact="0.4819"/>
                  <dgm:constr type="t" for="ch" forName="Child1Accent1" refType="h" fact="0.2457"/>
                  <dgm:constr type="w" for="ch" forName="Child1Accent1" refType="w" fact="0.0574"/>
                  <dgm:constr type="h" for="ch" forName="Child1Accent1" refType="h" fact="0.0763"/>
                  <dgm:constr type="l" for="ch" forName="Child1Accent4" refType="w" fact="0.3653"/>
                  <dgm:constr type="t" for="ch" forName="Child1Accent4" refType="h" fact="0.097"/>
                  <dgm:constr type="w" for="ch" forName="Child1Accent4" refType="w" fact="0.0287"/>
                  <dgm:constr type="h" for="ch" forName="Child1Accent4" refType="h" fact="0.0381"/>
                  <dgm:constr type="l" for="ch" forName="Child1Accent5" refType="w" fact="0.304"/>
                  <dgm:constr type="t" for="ch" forName="Child1Accent5" refType="h" fact="0.097"/>
                  <dgm:constr type="w" for="ch" forName="Child1Accent5" refType="w" fact="0.0287"/>
                  <dgm:constr type="h" for="ch" forName="Child1Accent5" refType="h" fact="0.0381"/>
                  <dgm:constr type="l" for="ch" forName="Child1Accent6" refType="w" fact="0.2426"/>
                  <dgm:constr type="t" for="ch" forName="Child1Accent6" refType="h" fact="0.097"/>
                  <dgm:constr type="w" for="ch" forName="Child1Accent6" refType="w" fact="0.0287"/>
                  <dgm:constr type="h" for="ch" forName="Child1Accent6" refType="h" fact="0.0381"/>
                  <dgm:constr type="l" for="ch" forName="Child1Accent7" refType="w" fact="0.1813"/>
                  <dgm:constr type="t" for="ch" forName="Child1Accent7" refType="h" fact="0.097"/>
                  <dgm:constr type="w" for="ch" forName="Child1Accent7" refType="w" fact="0.0287"/>
                  <dgm:constr type="h" for="ch" forName="Child1Accent7" refType="h" fact="0.0381"/>
                  <dgm:constr type="l" for="ch" forName="Child1Accent8" refType="w" fact="0.12"/>
                  <dgm:constr type="t" for="ch" forName="Child1Accent8" refType="h" fact="0.097"/>
                  <dgm:constr type="w" for="ch" forName="Child1Accent8" refType="w" fact="0.0287"/>
                  <dgm:constr type="h" for="ch" forName="Child1Accent8" refType="h" fact="0.0381"/>
                  <dgm:constr type="l" for="ch" forName="Child1Accent9" refType="w" fact="0.0587"/>
                  <dgm:constr type="t" for="ch" forName="Child1Accent9" refType="h" fact="0.097"/>
                  <dgm:constr type="w" for="ch" forName="Child1Accent9" refType="w" fact="0.0287"/>
                  <dgm:constr type="h" for="ch" forName="Child1Accent9" refType="h" fact="0.0381"/>
                  <dgm:constr type="l" for="ch" forName="Child5Accent1" refType="w" fact="0.4819"/>
                  <dgm:constr type="t" for="ch" forName="Child5Accent1" refType="h" fact="0.7601"/>
                  <dgm:constr type="w" for="ch" forName="Child5Accent1" refType="w" fact="0.0574"/>
                  <dgm:constr type="h" for="ch" forName="Child5Accent1" refType="h" fact="0.0763"/>
                  <dgm:constr type="l" for="ch" forName="Child5Accent4" refType="w" fact="0.3653"/>
                  <dgm:constr type="t" for="ch" forName="Child5Accent4" refType="h" fact="0.9619"/>
                  <dgm:constr type="w" for="ch" forName="Child5Accent4" refType="w" fact="0.0287"/>
                  <dgm:constr type="h" for="ch" forName="Child5Accent4" refType="h" fact="0.0381"/>
                  <dgm:constr type="l" for="ch" forName="Child5Accent5" refType="w" fact="0.304"/>
                  <dgm:constr type="t" for="ch" forName="Child5Accent5" refType="h" fact="0.9619"/>
                  <dgm:constr type="w" for="ch" forName="Child5Accent5" refType="w" fact="0.0287"/>
                  <dgm:constr type="h" for="ch" forName="Child5Accent5" refType="h" fact="0.0381"/>
                  <dgm:constr type="l" for="ch" forName="Child5Accent6" refType="w" fact="0.2426"/>
                  <dgm:constr type="t" for="ch" forName="Child5Accent6" refType="h" fact="0.9619"/>
                  <dgm:constr type="w" for="ch" forName="Child5Accent6" refType="w" fact="0.0287"/>
                  <dgm:constr type="h" for="ch" forName="Child5Accent6" refType="h" fact="0.0381"/>
                  <dgm:constr type="l" for="ch" forName="Child5Accent7" refType="w" fact="0.1813"/>
                  <dgm:constr type="t" for="ch" forName="Child5Accent7" refType="h" fact="0.9619"/>
                  <dgm:constr type="w" for="ch" forName="Child5Accent7" refType="w" fact="0.0287"/>
                  <dgm:constr type="h" for="ch" forName="Child5Accent7" refType="h" fact="0.0381"/>
                  <dgm:constr type="l" for="ch" forName="Child5Accent8" refType="w" fact="0.12"/>
                  <dgm:constr type="t" for="ch" forName="Child5Accent8" refType="h" fact="0.9619"/>
                  <dgm:constr type="w" for="ch" forName="Child5Accent8" refType="w" fact="0.0287"/>
                  <dgm:constr type="h" for="ch" forName="Child5Accent8" refType="h" fact="0.0381"/>
                  <dgm:constr type="l" for="ch" forName="Child5Accent9" refType="w" fact="0.0587"/>
                  <dgm:constr type="t" for="ch" forName="Child5Accent9" refType="h" fact="0.9619"/>
                  <dgm:constr type="w" for="ch" forName="Child5Accent9" refType="w" fact="0.0287"/>
                  <dgm:constr type="h" for="ch" forName="Child5Accent9" refType="h" fact="0.0381"/>
                  <dgm:constr type="l" for="ch" forName="Child5Accent2" refType="w" fact="0.453"/>
                  <dgm:constr type="t" for="ch" forName="Child5Accent2" refType="h" fact="0.8375"/>
                  <dgm:constr type="w" for="ch" forName="Child5Accent2" refType="w" fact="0.0287"/>
                  <dgm:constr type="h" for="ch" forName="Child5Accent2" refType="h" fact="0.0381"/>
                  <dgm:constr type="l" for="ch" forName="Child5Accent3" refType="w" fact="0.4118"/>
                  <dgm:constr type="t" for="ch" forName="Child5Accent3" refType="h" fact="0.8991"/>
                  <dgm:constr type="w" for="ch" forName="Child5Accent3" refType="w" fact="0.0287"/>
                  <dgm:constr type="h" for="ch" forName="Child5Accent3" refType="h" fact="0.0381"/>
                  <dgm:constr type="l" for="ch" forName="Child1Accent2" refType="w" fact="0.4458"/>
                  <dgm:constr type="t" for="ch" forName="Child1Accent2" refType="h" fact="0.2004"/>
                  <dgm:constr type="w" for="ch" forName="Child1Accent2" refType="w" fact="0.0287"/>
                  <dgm:constr type="h" for="ch" forName="Child1Accent2" refType="h" fact="0.0381"/>
                  <dgm:constr type="l" for="ch" forName="Child1Accent3" refType="w" fact="0.4054"/>
                  <dgm:constr type="t" for="ch" forName="Child1Accent3" refType="h" fact="0.1445"/>
                  <dgm:constr type="w" for="ch" forName="Child1Accent3" refType="w" fact="0.0287"/>
                  <dgm:constr type="h" for="ch" forName="Child1Accent3" refType="h" fact="0.0381"/>
                  <dgm:constr type="l" for="ch" forName="Child5" refType="w" fact="0.0581"/>
                  <dgm:constr type="t" for="ch" forName="Child5" refType="h" fact="0.8635"/>
                  <dgm:constr type="w" for="ch" forName="Child5" refType="w" fact="0.3364"/>
                  <dgm:constr type="h" for="ch" forName="Child5" refType="h" fact="0.0981"/>
                  <dgm:constr type="l" for="ch" forName="Child4" refType="w" fact="0"/>
                  <dgm:constr type="t" for="ch" forName="Child4" refType="h" fact="0.6701"/>
                  <dgm:constr type="w" for="ch" forName="Child4" refType="w" fact="0.3364"/>
                  <dgm:constr type="h" for="ch" forName="Child4" refType="h" fact="0.0981"/>
                  <dgm:constr type="l" for="ch" forName="Child3" refType="w" fact="0"/>
                  <dgm:constr type="t" for="ch" forName="Child3" refType="h" fact="0.4276"/>
                  <dgm:constr type="w" for="ch" forName="Child3" refType="w" fact="0.2544"/>
                  <dgm:constr type="h" for="ch" forName="Child3" refType="h" fact="0.0981"/>
                  <dgm:constr type="l" for="ch" forName="Child2" refType="w" fact="0"/>
                  <dgm:constr type="t" for="ch" forName="Child2" refType="h" fact="0.1798"/>
                  <dgm:constr type="w" for="ch" forName="Child2" refType="w" fact="0.3364"/>
                  <dgm:constr type="h" for="ch" forName="Child2" refType="h" fact="0.0981"/>
                  <dgm:constr type="l" for="ch" forName="Child1" refType="w" fact="0.0581"/>
                  <dgm:constr type="t" for="ch" forName="Child1" refType="h" fact="0"/>
                  <dgm:constr type="w" for="ch" forName="Child1" refType="w" fact="0.3364"/>
                  <dgm:constr type="h" for="ch" forName="Child1" refType="h" fact="0.0981"/>
                  <dgm:constr type="l" for="ch" forName="Parent" refType="w" fact="0.3653"/>
                  <dgm:constr type="t" for="ch" forName="Parent" refType="h" fact="0.3513"/>
                  <dgm:constr type="w" for="ch" forName="Parent" refType="w" fact="0.2906"/>
                  <dgm:constr type="h" for="ch" forName="Parent" refType="h" fact="0.3859"/>
                </dgm:constrLst>
              </dgm:else>
            </dgm:choose>
          </dgm:if>
          <dgm:else name="Name13">
            <dgm:choose name="Name14">
              <dgm:if name="Name15" axis="ch" ptType="node" func="cnt" op="equ" val="0">
                <dgm:alg type="composite">
                  <dgm:param type="ar" val="2.1059"/>
                </dgm:alg>
                <dgm:constrLst>
                  <dgm:constr type="r" for="ch" forName="Parent" refType="w"/>
                  <dgm:constr type="t" for="ch" forName="Parent" refType="h" fact="0"/>
                  <dgm:constr type="w" for="ch" forName="Parent" refType="w" fact="0.4749"/>
                  <dgm:constr type="h" for="ch" forName="Parent" refType="h"/>
                  <dgm:constr type="r" for="ch" forName="ParentAccent1" refType="w" fact="0.0469"/>
                  <dgm:constr type="t" for="ch" forName="ParentAccent1" refType="h" fact="0.4506"/>
                  <dgm:constr type="w" for="ch" forName="ParentAccent1" refType="w" fact="0.0469"/>
                  <dgm:constr type="h" for="ch" forName="ParentAccent1" refType="h" fact="0.0988"/>
                  <dgm:constr type="r" for="ch" forName="ParentAccent2" refType="w" fact="0.1266"/>
                  <dgm:constr type="t" for="ch" forName="ParentAccent2" refType="h" fact="0.4506"/>
                  <dgm:constr type="w" for="ch" forName="ParentAccent2" refType="w" fact="0.0469"/>
                  <dgm:constr type="h" for="ch" forName="ParentAccent2" refType="h" fact="0.0988"/>
                  <dgm:constr type="r" for="ch" forName="ParentAccent3" refType="w" fact="0.2063"/>
                  <dgm:constr type="t" for="ch" forName="ParentAccent3" refType="h" fact="0.4506"/>
                  <dgm:constr type="w" for="ch" forName="ParentAccent3" refType="w" fact="0.0469"/>
                  <dgm:constr type="h" for="ch" forName="ParentAccent3" refType="h" fact="0.0988"/>
                  <dgm:constr type="r" for="ch" forName="ParentAccent4" refType="w" fact="0.286"/>
                  <dgm:constr type="t" for="ch" forName="ParentAccent4" refType="h" fact="0.4506"/>
                  <dgm:constr type="w" for="ch" forName="ParentAccent4" refType="w" fact="0.0469"/>
                  <dgm:constr type="h" for="ch" forName="ParentAccent4" refType="h" fact="0.0988"/>
                  <dgm:constr type="r" for="ch" forName="ParentAccent5" refType="w" fact="0.3657"/>
                  <dgm:constr type="t" for="ch" forName="ParentAccent5" refType="h" fact="0.4506"/>
                  <dgm:constr type="w" for="ch" forName="ParentAccent5" refType="w" fact="0.0469"/>
                  <dgm:constr type="h" for="ch" forName="ParentAccent5" refType="h" fact="0.0988"/>
                  <dgm:constr type="r" for="ch" forName="ParentAccent6" refType="w" fact="0.4924"/>
                  <dgm:constr type="t" for="ch" forName="ParentAccent6" refType="h" fact="0.4012"/>
                  <dgm:constr type="w" for="ch" forName="ParentAccent6" refType="w" fact="0.0939"/>
                  <dgm:constr type="h" for="ch" forName="ParentAccent6" refType="h" fact="0.1976"/>
                  <dgm:constr type="r" for="ch" forName="ParentAccent7" refType="w" fact="0.1234"/>
                  <dgm:constr type="t" for="ch" forName="ParentAccent7" refType="h" fact="0.2465"/>
                  <dgm:constr type="w" for="ch" forName="ParentAccent7" refType="w" fact="0.0469"/>
                  <dgm:constr type="h" for="ch" forName="ParentAccent7" refType="h" fact="0.0988"/>
                  <dgm:constr type="r" for="ch" forName="ParentAccent8" refType="w" fact="0.1234"/>
                  <dgm:constr type="t" for="ch" forName="ParentAccent8" refType="h" fact="0.6562"/>
                  <dgm:constr type="w" for="ch" forName="ParentAccent8" refType="w" fact="0.0469"/>
                  <dgm:constr type="h" for="ch" forName="ParentAccent8" refType="h" fact="0.0988"/>
                  <dgm:constr type="r" for="ch" forName="ParentAccent9" refType="w" fact="0.0815"/>
                  <dgm:constr type="t" for="ch" forName="ParentAccent9" refType="h" fact="0.3353"/>
                  <dgm:constr type="w" for="ch" forName="ParentAccent9" refType="w" fact="0.0469"/>
                  <dgm:constr type="h" for="ch" forName="ParentAccent9" refType="h" fact="0.0988"/>
                  <dgm:constr type="r" for="ch" forName="ParentAccent10" refType="w" fact="0.0787"/>
                  <dgm:constr type="t" for="ch" forName="ParentAccent10" refType="h" fact="0.5679"/>
                  <dgm:constr type="w" for="ch" forName="ParentAccent10" refType="w" fact="0.0469"/>
                  <dgm:constr type="h" for="ch" forName="ParentAccent10" refType="h" fact="0.0988"/>
                </dgm:constrLst>
              </dgm:if>
              <dgm:if name="Name16" axis="ch" ptType="node" func="cnt" op="equ" val="1">
                <dgm:alg type="composite">
                  <dgm:param type="ar" val="3.4411"/>
                </dgm:alg>
                <dgm:constrLst>
                  <dgm:constr type="primFontSz" for="des" forName="Child1" val="65"/>
                  <dgm:constr type="primFontSz" for="des" forName="Child1" refType="primFontSz" refFor="des" refForName="Parent" op="lte"/>
                  <dgm:constr type="r" for="ch" forName="Child1Accent1" refType="w" fact="0.716"/>
                  <dgm:constr type="t" for="ch" forName="Child1Accent1" refType="h" fact="0.4012"/>
                  <dgm:constr type="w" for="ch" forName="Child1Accent1" refType="w" fact="0.0574"/>
                  <dgm:constr type="h" for="ch" forName="Child1Accent1" refType="h" fact="0.1976"/>
                  <dgm:constr type="r" for="ch" forName="Child1Accent2" refType="w" fact="0.7728"/>
                  <dgm:constr type="t" for="ch" forName="Child1Accent2" refType="h" fact="0.4506"/>
                  <dgm:constr type="w" for="ch" forName="Child1Accent2" refType="w" fact="0.0287"/>
                  <dgm:constr type="h" for="ch" forName="Child1Accent2" refType="h" fact="0.0988"/>
                  <dgm:constr type="r" for="ch" forName="Child1Accent3" refType="w" fact="0.8295"/>
                  <dgm:constr type="t" for="ch" forName="Child1Accent3" refType="h" fact="0.4506"/>
                  <dgm:constr type="w" for="ch" forName="Child1Accent3" refType="w" fact="0.0287"/>
                  <dgm:constr type="h" for="ch" forName="Child1Accent3" refType="h" fact="0.0988"/>
                  <dgm:constr type="r" for="ch" forName="Child1Accent4" refType="w" fact="0.8863"/>
                  <dgm:constr type="t" for="ch" forName="Child1Accent4" refType="h" fact="0.4506"/>
                  <dgm:constr type="w" for="ch" forName="Child1Accent4" refType="w" fact="0.0287"/>
                  <dgm:constr type="h" for="ch" forName="Child1Accent4" refType="h" fact="0.0988"/>
                  <dgm:constr type="r" for="ch" forName="Child1Accent5" refType="w" fact="0.943"/>
                  <dgm:constr type="t" for="ch" forName="Child1Accent5" refType="h" fact="0.4506"/>
                  <dgm:constr type="w" for="ch" forName="Child1Accent5" refType="w" fact="0.0287"/>
                  <dgm:constr type="h" for="ch" forName="Child1Accent5" refType="h" fact="0.0988"/>
                  <dgm:constr type="r" for="ch" forName="Child1Accent6" refType="w" fact="0.9998"/>
                  <dgm:constr type="t" for="ch" forName="Child1Accent6" refType="h" fact="0.4506"/>
                  <dgm:constr type="w" for="ch" forName="Child1Accent6" refType="w" fact="0.0287"/>
                  <dgm:constr type="h" for="ch" forName="Child1Accent6" refType="h" fact="0.0988"/>
                  <dgm:constr type="l" for="ch" forName="Child1Accent7" refType="w" fact="0"/>
                  <dgm:constr type="t" for="ch" forName="Child1Accent7" refType="h" fact="0"/>
                  <dgm:constr type="w" for="ch" forName="Child1Accent7" refType="w" fact="0"/>
                  <dgm:constr type="h" for="ch" forName="Child1Accent7" refType="h" fact="0"/>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r" for="ch" forName="ParentAccent1" refType="w" fact="0.0287"/>
                  <dgm:constr type="t" for="ch" forName="ParentAccent1" refType="h" fact="0.4506"/>
                  <dgm:constr type="w" for="ch" forName="ParentAccent1" refType="w" fact="0.0287"/>
                  <dgm:constr type="h" for="ch" forName="ParentAccent1" refType="h" fact="0.0988"/>
                  <dgm:constr type="r" for="ch" forName="ParentAccent2" refType="w" fact="0.0813"/>
                  <dgm:constr type="t" for="ch" forName="ParentAccent2" refType="h" fact="0.4506"/>
                  <dgm:constr type="w" for="ch" forName="ParentAccent2" refType="w" fact="0.0287"/>
                  <dgm:constr type="h" for="ch" forName="ParentAccent2" refType="h" fact="0.0988"/>
                  <dgm:constr type="r" for="ch" forName="ParentAccent3" refType="w" fact="0.1339"/>
                  <dgm:constr type="t" for="ch" forName="ParentAccent3" refType="h" fact="0.4506"/>
                  <dgm:constr type="w" for="ch" forName="ParentAccent3" refType="w" fact="0.0287"/>
                  <dgm:constr type="h" for="ch" forName="ParentAccent3" refType="h" fact="0.0988"/>
                  <dgm:constr type="r" for="ch" forName="ParentAccent4" refType="w" fact="0.1864"/>
                  <dgm:constr type="t" for="ch" forName="ParentAccent4" refType="h" fact="0.4506"/>
                  <dgm:constr type="w" for="ch" forName="ParentAccent4" refType="w" fact="0.0287"/>
                  <dgm:constr type="h" for="ch" forName="ParentAccent4" refType="h" fact="0.0988"/>
                  <dgm:constr type="r" for="ch" forName="ParentAccent5" refType="w" fact="0.239"/>
                  <dgm:constr type="t" for="ch" forName="ParentAccent5" refType="h" fact="0.4506"/>
                  <dgm:constr type="w" for="ch" forName="ParentAccent5" refType="w" fact="0.0287"/>
                  <dgm:constr type="h" for="ch" forName="ParentAccent5" refType="h" fact="0.0988"/>
                  <dgm:constr type="r" for="ch" forName="ParentAccent6" refType="w" fact="0.3203"/>
                  <dgm:constr type="t" for="ch" forName="ParentAccent6" refType="h" fact="0.4012"/>
                  <dgm:constr type="w" for="ch" forName="ParentAccent6" refType="w" fact="0.0574"/>
                  <dgm:constr type="h" for="ch" forName="ParentAccent6" refType="h" fact="0.1976"/>
                  <dgm:constr type="r" for="ch" forName="ParentAccent7" refType="w" fact="0.0755"/>
                  <dgm:constr type="t" for="ch" forName="ParentAccent7" refType="h" fact="0.2465"/>
                  <dgm:constr type="w" for="ch" forName="ParentAccent7" refType="w" fact="0.0287"/>
                  <dgm:constr type="h" for="ch" forName="ParentAccent7" refType="h" fact="0.0988"/>
                  <dgm:constr type="r" for="ch" forName="ParentAccent8" refType="w" fact="0.0755"/>
                  <dgm:constr type="t" for="ch" forName="ParentAccent8" refType="h" fact="0.6562"/>
                  <dgm:constr type="w" for="ch" forName="ParentAccent8" refType="w" fact="0.0287"/>
                  <dgm:constr type="h" for="ch" forName="ParentAccent8" refType="h" fact="0.0988"/>
                  <dgm:constr type="r" for="ch" forName="ParentAccent9" refType="w" fact="0.0499"/>
                  <dgm:constr type="t" for="ch" forName="ParentAccent9" refType="h" fact="0.3353"/>
                  <dgm:constr type="w" for="ch" forName="ParentAccent9" refType="w" fact="0.0287"/>
                  <dgm:constr type="h" for="ch" forName="ParentAccent9" refType="h" fact="0.0988"/>
                  <dgm:constr type="r" for="ch" forName="ParentAccent10" refType="w" fact="0.0482"/>
                  <dgm:constr type="t" for="ch" forName="ParentAccent10" refType="h" fact="0.5679"/>
                  <dgm:constr type="w" for="ch" forName="ParentAccent10" refType="w" fact="0.0287"/>
                  <dgm:constr type="h" for="ch" forName="ParentAccent10" refType="h" fact="0.0988"/>
                  <dgm:constr type="r" for="ch" forName="Child1" refType="w"/>
                  <dgm:constr type="t" for="ch" forName="Child1" refType="h" fact="0.1978"/>
                  <dgm:constr type="w" for="ch" forName="Child1" refType="w" fact="0.2544"/>
                  <dgm:constr type="h" for="ch" forName="Child1" refType="h" fact="0.2541"/>
                  <dgm:constr type="r" for="ch" forName="Parent" refType="w" fact="0.6347"/>
                  <dgm:constr type="t" for="ch" forName="Parent" refType="h" fact="0"/>
                  <dgm:constr type="w" for="ch" forName="Parent" refType="w" fact="0.2906"/>
                  <dgm:constr type="h" for="ch" forName="Parent" refType="h"/>
                </dgm:constrLst>
              </dgm:if>
              <dgm:if name="Name17" axis="ch" ptType="node" func="cnt" op="equ" val="2">
                <dgm:alg type="composite">
                  <dgm:param type="ar" val="2.1185"/>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Child1Accent1" refType="w" fact="0.6564"/>
                  <dgm:constr type="t" for="ch" forName="Child1Accent1" refType="h" fact="0.2211"/>
                  <dgm:constr type="w" for="ch" forName="Child1Accent1" refType="w" fact="0.0574"/>
                  <dgm:constr type="h" for="ch" forName="Child1Accent1" refType="h" fact="0.1217"/>
                  <dgm:constr type="r" for="ch" forName="Child1Accent2" refType="w" fact="0.6932"/>
                  <dgm:constr type="t" for="ch" forName="Child1Accent2" refType="h" fact="0.1569"/>
                  <dgm:constr type="w" for="ch" forName="Child1Accent2" refType="w" fact="0.0287"/>
                  <dgm:constr type="h" for="ch" forName="Child1Accent2" refType="h" fact="0.0608"/>
                  <dgm:constr type="r" for="ch" forName="Child1Accent3" refType="w" fact="0.7545"/>
                  <dgm:constr type="t" for="ch" forName="Child1Accent3" refType="h" fact="0.1569"/>
                  <dgm:constr type="w" for="ch" forName="Child1Accent3" refType="w" fact="0.0287"/>
                  <dgm:constr type="h" for="ch" forName="Child1Accent3" refType="h" fact="0.0608"/>
                  <dgm:constr type="r" for="ch" forName="Child1Accent4" refType="w" fact="0.8158"/>
                  <dgm:constr type="t" for="ch" forName="Child1Accent4" refType="h" fact="0.1569"/>
                  <dgm:constr type="w" for="ch" forName="Child1Accent4" refType="w" fact="0.0287"/>
                  <dgm:constr type="h" for="ch" forName="Child1Accent4" refType="h" fact="0.0608"/>
                  <dgm:constr type="r" for="ch" forName="Child1Accent5" refType="w" fact="0.8771"/>
                  <dgm:constr type="t" for="ch" forName="Child1Accent5" refType="h" fact="0.1569"/>
                  <dgm:constr type="w" for="ch" forName="Child1Accent5" refType="w" fact="0.0287"/>
                  <dgm:constr type="h" for="ch" forName="Child1Accent5" refType="h" fact="0.0608"/>
                  <dgm:constr type="r" for="ch" forName="Child1Accent6" refType="w" fact="0.9385"/>
                  <dgm:constr type="t" for="ch" forName="Child1Accent6" refType="h" fact="0.1569"/>
                  <dgm:constr type="w" for="ch" forName="Child1Accent6" refType="w" fact="0.0287"/>
                  <dgm:constr type="h" for="ch" forName="Child1Accent6" refType="h" fact="0.0608"/>
                  <dgm:constr type="r" for="ch" forName="Child1Accent7" refType="w" fact="0.9998"/>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r" for="ch" forName="Child2Accent1" refType="w" fact="0.6564"/>
                  <dgm:constr type="t" for="ch" forName="Child2Accent1" refType="h" fact="0.8153"/>
                  <dgm:constr type="w" for="ch" forName="Child2Accent1" refType="w" fact="0.0574"/>
                  <dgm:constr type="h" for="ch" forName="Child2Accent1" refType="h" fact="0.1217"/>
                  <dgm:constr type="r" for="ch" forName="Child2Accent2" refType="w" fact="0.6932"/>
                  <dgm:constr type="t" for="ch" forName="Child2Accent2" refType="h" fact="0.9392"/>
                  <dgm:constr type="w" for="ch" forName="Child2Accent2" refType="w" fact="0.0287"/>
                  <dgm:constr type="h" for="ch" forName="Child2Accent2" refType="h" fact="0.0608"/>
                  <dgm:constr type="r" for="ch" forName="Child2Accent3" refType="w" fact="0.7545"/>
                  <dgm:constr type="t" for="ch" forName="Child2Accent3" refType="h" fact="0.9392"/>
                  <dgm:constr type="w" for="ch" forName="Child2Accent3" refType="w" fact="0.0287"/>
                  <dgm:constr type="h" for="ch" forName="Child2Accent3" refType="h" fact="0.0608"/>
                  <dgm:constr type="r" for="ch" forName="Child2Accent4" refType="w" fact="0.8158"/>
                  <dgm:constr type="t" for="ch" forName="Child2Accent4" refType="h" fact="0.9392"/>
                  <dgm:constr type="w" for="ch" forName="Child2Accent4" refType="w" fact="0.0287"/>
                  <dgm:constr type="h" for="ch" forName="Child2Accent4" refType="h" fact="0.0608"/>
                  <dgm:constr type="r" for="ch" forName="Child2Accent5" refType="w" fact="0.8771"/>
                  <dgm:constr type="t" for="ch" forName="Child2Accent5" refType="h" fact="0.9392"/>
                  <dgm:constr type="w" for="ch" forName="Child2Accent5" refType="w" fact="0.0287"/>
                  <dgm:constr type="h" for="ch" forName="Child2Accent5" refType="h" fact="0.0608"/>
                  <dgm:constr type="r" for="ch" forName="Child2Accent6" refType="w" fact="0.9385"/>
                  <dgm:constr type="t" for="ch" forName="Child2Accent6" refType="h" fact="0.9392"/>
                  <dgm:constr type="w" for="ch" forName="Child2Accent6" refType="w" fact="0.0287"/>
                  <dgm:constr type="h" for="ch" forName="Child2Accent6" refType="h" fact="0.0608"/>
                  <dgm:constr type="r" for="ch" forName="Child2Accent7" refType="w" fact="0.9998"/>
                  <dgm:constr type="t" for="ch" forName="Child2Accent7" refType="h" fact="0.9392"/>
                  <dgm:constr type="w" for="ch" forName="Child2Accent7" refType="w" fact="0.0287"/>
                  <dgm:constr type="h" for="ch" forName="Child2Accent7" refType="h" fact="0.0608"/>
                  <dgm:constr type="r" for="ch" forName="ParentAccent1" refType="w" fact="0.0287"/>
                  <dgm:constr type="t" for="ch" forName="ParentAccent1" refType="h" fact="0.5511"/>
                  <dgm:constr type="w" for="ch" forName="ParentAccent1" refType="w" fact="0.0287"/>
                  <dgm:constr type="h" for="ch" forName="ParentAccent1" refType="h" fact="0.0608"/>
                  <dgm:constr type="r" for="ch" forName="ParentAccent2" refType="w" fact="0.0813"/>
                  <dgm:constr type="t" for="ch" forName="ParentAccent2" refType="h" fact="0.5511"/>
                  <dgm:constr type="w" for="ch" forName="ParentAccent2" refType="w" fact="0.0287"/>
                  <dgm:constr type="h" for="ch" forName="ParentAccent2" refType="h" fact="0.0608"/>
                  <dgm:constr type="r" for="ch" forName="ParentAccent3" refType="w" fact="0.1339"/>
                  <dgm:constr type="t" for="ch" forName="ParentAccent3" refType="h" fact="0.5511"/>
                  <dgm:constr type="w" for="ch" forName="ParentAccent3" refType="w" fact="0.0287"/>
                  <dgm:constr type="h" for="ch" forName="ParentAccent3" refType="h" fact="0.0608"/>
                  <dgm:constr type="r" for="ch" forName="ParentAccent4" refType="w" fact="0.1864"/>
                  <dgm:constr type="t" for="ch" forName="ParentAccent4" refType="h" fact="0.5511"/>
                  <dgm:constr type="w" for="ch" forName="ParentAccent4" refType="w" fact="0.0287"/>
                  <dgm:constr type="h" for="ch" forName="ParentAccent4" refType="h" fact="0.0608"/>
                  <dgm:constr type="r" for="ch" forName="ParentAccent5" refType="w" fact="0.239"/>
                  <dgm:constr type="t" for="ch" forName="ParentAccent5" refType="h" fact="0.5511"/>
                  <dgm:constr type="w" for="ch" forName="ParentAccent5" refType="w" fact="0.0287"/>
                  <dgm:constr type="h" for="ch" forName="ParentAccent5" refType="h" fact="0.0608"/>
                  <dgm:constr type="r" for="ch" forName="ParentAccent6" refType="w" fact="0.3203"/>
                  <dgm:constr type="t" for="ch" forName="ParentAccent6" refType="h" fact="0.5207"/>
                  <dgm:constr type="w" for="ch" forName="ParentAccent6" refType="w" fact="0.0574"/>
                  <dgm:constr type="h" for="ch" forName="ParentAccent6" refType="h" fact="0.1217"/>
                  <dgm:constr type="r" for="ch" forName="ParentAccent7" refType="w" fact="0.0755"/>
                  <dgm:constr type="t" for="ch" forName="ParentAccent7" refType="h" fact="0.4255"/>
                  <dgm:constr type="w" for="ch" forName="ParentAccent7" refType="w" fact="0.0287"/>
                  <dgm:constr type="h" for="ch" forName="ParentAccent7" refType="h" fact="0.0608"/>
                  <dgm:constr type="r" for="ch" forName="ParentAccent8" refType="w" fact="0.0755"/>
                  <dgm:constr type="t" for="ch" forName="ParentAccent8" refType="h" fact="0.6776"/>
                  <dgm:constr type="w" for="ch" forName="ParentAccent8" refType="w" fact="0.0287"/>
                  <dgm:constr type="h" for="ch" forName="ParentAccent8" refType="h" fact="0.0608"/>
                  <dgm:constr type="r" for="ch" forName="ParentAccent9" refType="w" fact="0.0499"/>
                  <dgm:constr type="t" for="ch" forName="ParentAccent9" refType="h" fact="0.4801"/>
                  <dgm:constr type="w" for="ch" forName="ParentAccent9" refType="w" fact="0.0287"/>
                  <dgm:constr type="h" for="ch" forName="ParentAccent9" refType="h" fact="0.0608"/>
                  <dgm:constr type="r" for="ch" forName="ParentAccent10" refType="w" fact="0.0482"/>
                  <dgm:constr type="t" for="ch" forName="ParentAccent10" refType="h" fact="0.6233"/>
                  <dgm:constr type="w" for="ch" forName="ParentAccent10" refType="w" fact="0.0287"/>
                  <dgm:constr type="h" for="ch" forName="ParentAccent10" refType="h" fact="0.0608"/>
                  <dgm:constr type="r" for="ch" forName="Child2" refType="w"/>
                  <dgm:constr type="t" for="ch" forName="Child2" refType="h" fact="0.7822"/>
                  <dgm:constr type="w" for="ch" forName="Child2" refType="w" fact="0.3364"/>
                  <dgm:constr type="h" for="ch" forName="Child2" refType="h" fact="0.1564"/>
                  <dgm:constr type="r" for="ch" forName="Child1" refType="w"/>
                  <dgm:constr type="t" for="ch" forName="Child1" refType="h" fact="0"/>
                  <dgm:constr type="w" for="ch" forName="Child1" refType="w" fact="0.3364"/>
                  <dgm:constr type="h" for="ch" forName="Child1" refType="h" fact="0.1564"/>
                  <dgm:constr type="r" for="ch" forName="Parent" refType="w" fact="0.6347"/>
                  <dgm:constr type="t" for="ch" forName="Parent" refType="h" fact="0.2737"/>
                  <dgm:constr type="w" for="ch" forName="Parent" refType="w" fact="0.2906"/>
                  <dgm:constr type="h" for="ch" forName="Parent" refType="h" fact="0.6157"/>
                </dgm:constrLst>
              </dgm:if>
              <dgm:if name="Name18" axis="ch" ptType="node" func="cnt" op="equ" val="3">
                <dgm:alg type="composite">
                  <dgm:param type="ar" val="2.1185"/>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Child1Accent1" refType="w" fact="0.6564"/>
                  <dgm:constr type="t" for="ch" forName="Child1Accent1" refType="h" fact="0.2211"/>
                  <dgm:constr type="w" for="ch" forName="Child1Accent1" refType="w" fact="0.0574"/>
                  <dgm:constr type="h" for="ch" forName="Child1Accent1" refType="h" fact="0.1217"/>
                  <dgm:constr type="r" for="ch" forName="Child1Accent2" refType="w" fact="0.6932"/>
                  <dgm:constr type="t" for="ch" forName="Child1Accent2" refType="h" fact="0.1569"/>
                  <dgm:constr type="w" for="ch" forName="Child1Accent2" refType="w" fact="0.0287"/>
                  <dgm:constr type="h" for="ch" forName="Child1Accent2" refType="h" fact="0.0608"/>
                  <dgm:constr type="r" for="ch" forName="Child1Accent3" refType="w" fact="0.7545"/>
                  <dgm:constr type="t" for="ch" forName="Child1Accent3" refType="h" fact="0.1569"/>
                  <dgm:constr type="w" for="ch" forName="Child1Accent3" refType="w" fact="0.0287"/>
                  <dgm:constr type="h" for="ch" forName="Child1Accent3" refType="h" fact="0.0608"/>
                  <dgm:constr type="r" for="ch" forName="Child1Accent4" refType="w" fact="0.8158"/>
                  <dgm:constr type="t" for="ch" forName="Child1Accent4" refType="h" fact="0.1569"/>
                  <dgm:constr type="w" for="ch" forName="Child1Accent4" refType="w" fact="0.0287"/>
                  <dgm:constr type="h" for="ch" forName="Child1Accent4" refType="h" fact="0.0608"/>
                  <dgm:constr type="r" for="ch" forName="Child1Accent5" refType="w" fact="0.8771"/>
                  <dgm:constr type="t" for="ch" forName="Child1Accent5" refType="h" fact="0.1569"/>
                  <dgm:constr type="w" for="ch" forName="Child1Accent5" refType="w" fact="0.0287"/>
                  <dgm:constr type="h" for="ch" forName="Child1Accent5" refType="h" fact="0.0608"/>
                  <dgm:constr type="r" for="ch" forName="Child1Accent6" refType="w" fact="0.9385"/>
                  <dgm:constr type="t" for="ch" forName="Child1Accent6" refType="h" fact="0.1569"/>
                  <dgm:constr type="w" for="ch" forName="Child1Accent6" refType="w" fact="0.0287"/>
                  <dgm:constr type="h" for="ch" forName="Child1Accent6" refType="h" fact="0.0608"/>
                  <dgm:constr type="r" for="ch" forName="Child1Accent7" refType="w" fact="0.9998"/>
                  <dgm:constr type="t" for="ch" forName="Child1Accent7" refType="h" fact="0.1569"/>
                  <dgm:constr type="w" for="ch" forName="Child1Accent7" refType="w" fact="0.0287"/>
                  <dgm:constr type="h" for="ch" forName="Child1Accent7" refType="h" fact="0.0608"/>
                  <dgm:constr type="r" for="ch" forName="Child1Accent8" refType="w" fact="0"/>
                  <dgm:constr type="t" for="ch" forName="Child1Accent8" refType="h" fact="0"/>
                  <dgm:constr type="w" for="ch" forName="Child1Accent8" refType="w" fact="0"/>
                  <dgm:constr type="h" for="ch" forName="Child1Accent8" refType="h" fact="0"/>
                  <dgm:constr type="r" for="ch" forName="Child1Accent9" refType="w" fact="0"/>
                  <dgm:constr type="t" for="ch" forName="Child1Accent9" refType="h" fact="0"/>
                  <dgm:constr type="w" for="ch" forName="Child1Accent9" refType="w" fact="0"/>
                  <dgm:constr type="h" for="ch" forName="Child1Accent9" refType="h" fact="0"/>
                  <dgm:constr type="r" for="ch" forName="Child2Accent1" refType="w" fact="0.716"/>
                  <dgm:constr type="t" for="ch" forName="Child2Accent1" refType="h" fact="0.5207"/>
                  <dgm:constr type="w" for="ch" forName="Child2Accent1" refType="w" fact="0.0574"/>
                  <dgm:constr type="h" for="ch" forName="Child2Accent1" refType="h" fact="0.1217"/>
                  <dgm:constr type="r" for="ch" forName="Child2Accent2" refType="w" fact="0.7728"/>
                  <dgm:constr type="t" for="ch" forName="Child2Accent2" refType="h" fact="0.5511"/>
                  <dgm:constr type="w" for="ch" forName="Child2Accent2" refType="w" fact="0.0287"/>
                  <dgm:constr type="h" for="ch" forName="Child2Accent2" refType="h" fact="0.0608"/>
                  <dgm:constr type="r" for="ch" forName="Child2Accent3" refType="w" fact="0.8295"/>
                  <dgm:constr type="t" for="ch" forName="Child2Accent3" refType="h" fact="0.5511"/>
                  <dgm:constr type="w" for="ch" forName="Child2Accent3" refType="w" fact="0.0287"/>
                  <dgm:constr type="h" for="ch" forName="Child2Accent3" refType="h" fact="0.0608"/>
                  <dgm:constr type="r" for="ch" forName="Child2Accent4" refType="w" fact="0.8863"/>
                  <dgm:constr type="t" for="ch" forName="Child2Accent4" refType="h" fact="0.5511"/>
                  <dgm:constr type="w" for="ch" forName="Child2Accent4" refType="w" fact="0.0287"/>
                  <dgm:constr type="h" for="ch" forName="Child2Accent4" refType="h" fact="0.0608"/>
                  <dgm:constr type="r" for="ch" forName="Child2Accent5" refType="w" fact="0.943"/>
                  <dgm:constr type="t" for="ch" forName="Child2Accent5" refType="h" fact="0.5511"/>
                  <dgm:constr type="w" for="ch" forName="Child2Accent5" refType="w" fact="0.0287"/>
                  <dgm:constr type="h" for="ch" forName="Child2Accent5" refType="h" fact="0.0608"/>
                  <dgm:constr type="r" for="ch" forName="Child2Accent6" refType="w" fact="0.9998"/>
                  <dgm:constr type="t" for="ch" forName="Child2Accent6" refType="h" fact="0.5511"/>
                  <dgm:constr type="w" for="ch" forName="Child2Accent6" refType="w" fact="0.0287"/>
                  <dgm:constr type="h" for="ch" forName="Child2Accent6" refType="h" fact="0.0608"/>
                  <dgm:constr type="r" for="ch" forName="Child2Accent7" refType="w" fact="0"/>
                  <dgm:constr type="t" for="ch" forName="Child2Accent7" refType="h" fact="0"/>
                  <dgm:constr type="w" for="ch" forName="Child2Accent7" refType="w" fact="0"/>
                  <dgm:constr type="h" for="ch" forName="Child2Accent7" refType="h" fact="0"/>
                  <dgm:constr type="r" for="ch" forName="Child3Accent1" refType="w" fact="0.6564"/>
                  <dgm:constr type="t" for="ch" forName="Child3Accent1" refType="h" fact="0.8153"/>
                  <dgm:constr type="w" for="ch" forName="Child3Accent1" refType="w" fact="0.0574"/>
                  <dgm:constr type="h" for="ch" forName="Child3Accent1" refType="h" fact="0.1217"/>
                  <dgm:constr type="r" for="ch" forName="Child3Accent2" refType="w" fact="0.6932"/>
                  <dgm:constr type="t" for="ch" forName="Child3Accent2" refType="h" fact="0.9392"/>
                  <dgm:constr type="w" for="ch" forName="Child3Accent2" refType="w" fact="0.0287"/>
                  <dgm:constr type="h" for="ch" forName="Child3Accent2" refType="h" fact="0.0608"/>
                  <dgm:constr type="r" for="ch" forName="Child3Accent3" refType="w" fact="0.7545"/>
                  <dgm:constr type="t" for="ch" forName="Child3Accent3" refType="h" fact="0.9392"/>
                  <dgm:constr type="w" for="ch" forName="Child3Accent3" refType="w" fact="0.0287"/>
                  <dgm:constr type="h" for="ch" forName="Child3Accent3" refType="h" fact="0.0608"/>
                  <dgm:constr type="r" for="ch" forName="Child3Accent4" refType="w" fact="0.8158"/>
                  <dgm:constr type="t" for="ch" forName="Child3Accent4" refType="h" fact="0.9392"/>
                  <dgm:constr type="w" for="ch" forName="Child3Accent4" refType="w" fact="0.0287"/>
                  <dgm:constr type="h" for="ch" forName="Child3Accent4" refType="h" fact="0.0608"/>
                  <dgm:constr type="r" for="ch" forName="Child3Accent5" refType="w" fact="0.8771"/>
                  <dgm:constr type="t" for="ch" forName="Child3Accent5" refType="h" fact="0.9392"/>
                  <dgm:constr type="w" for="ch" forName="Child3Accent5" refType="w" fact="0.0287"/>
                  <dgm:constr type="h" for="ch" forName="Child3Accent5" refType="h" fact="0.0608"/>
                  <dgm:constr type="r" for="ch" forName="Child3Accent6" refType="w" fact="0.9385"/>
                  <dgm:constr type="t" for="ch" forName="Child3Accent6" refType="h" fact="0.9392"/>
                  <dgm:constr type="w" for="ch" forName="Child3Accent6" refType="w" fact="0.0287"/>
                  <dgm:constr type="h" for="ch" forName="Child3Accent6" refType="h" fact="0.0608"/>
                  <dgm:constr type="r" for="ch" forName="Child3Accent7" refType="w" fact="0.9998"/>
                  <dgm:constr type="t" for="ch" forName="Child3Accent7" refType="h" fact="0.9392"/>
                  <dgm:constr type="w" for="ch" forName="Child3Accent7" refType="w" fact="0.0287"/>
                  <dgm:constr type="h" for="ch" forName="Child3Accent7" refType="h" fact="0.0608"/>
                  <dgm:constr type="r" for="ch" forName="ParentAccent1" refType="w" fact="0.0287"/>
                  <dgm:constr type="t" for="ch" forName="ParentAccent1" refType="h" fact="0.5511"/>
                  <dgm:constr type="w" for="ch" forName="ParentAccent1" refType="w" fact="0.0287"/>
                  <dgm:constr type="h" for="ch" forName="ParentAccent1" refType="h" fact="0.0608"/>
                  <dgm:constr type="r" for="ch" forName="ParentAccent2" refType="w" fact="0.0813"/>
                  <dgm:constr type="t" for="ch" forName="ParentAccent2" refType="h" fact="0.5511"/>
                  <dgm:constr type="w" for="ch" forName="ParentAccent2" refType="w" fact="0.0287"/>
                  <dgm:constr type="h" for="ch" forName="ParentAccent2" refType="h" fact="0.0608"/>
                  <dgm:constr type="r" for="ch" forName="ParentAccent3" refType="w" fact="0.1339"/>
                  <dgm:constr type="t" for="ch" forName="ParentAccent3" refType="h" fact="0.5511"/>
                  <dgm:constr type="w" for="ch" forName="ParentAccent3" refType="w" fact="0.0287"/>
                  <dgm:constr type="h" for="ch" forName="ParentAccent3" refType="h" fact="0.0608"/>
                  <dgm:constr type="r" for="ch" forName="ParentAccent4" refType="w" fact="0.1864"/>
                  <dgm:constr type="t" for="ch" forName="ParentAccent4" refType="h" fact="0.5511"/>
                  <dgm:constr type="w" for="ch" forName="ParentAccent4" refType="w" fact="0.0287"/>
                  <dgm:constr type="h" for="ch" forName="ParentAccent4" refType="h" fact="0.0608"/>
                  <dgm:constr type="r" for="ch" forName="ParentAccent5" refType="w" fact="0.239"/>
                  <dgm:constr type="t" for="ch" forName="ParentAccent5" refType="h" fact="0.5511"/>
                  <dgm:constr type="w" for="ch" forName="ParentAccent5" refType="w" fact="0.0287"/>
                  <dgm:constr type="h" for="ch" forName="ParentAccent5" refType="h" fact="0.0608"/>
                  <dgm:constr type="r" for="ch" forName="ParentAccent6" refType="w" fact="0.3203"/>
                  <dgm:constr type="t" for="ch" forName="ParentAccent6" refType="h" fact="0.5207"/>
                  <dgm:constr type="w" for="ch" forName="ParentAccent6" refType="w" fact="0.0574"/>
                  <dgm:constr type="h" for="ch" forName="ParentAccent6" refType="h" fact="0.1217"/>
                  <dgm:constr type="r" for="ch" forName="ParentAccent7" refType="w" fact="0.0755"/>
                  <dgm:constr type="t" for="ch" forName="ParentAccent7" refType="h" fact="0.4255"/>
                  <dgm:constr type="w" for="ch" forName="ParentAccent7" refType="w" fact="0.0287"/>
                  <dgm:constr type="h" for="ch" forName="ParentAccent7" refType="h" fact="0.0608"/>
                  <dgm:constr type="r" for="ch" forName="ParentAccent8" refType="w" fact="0.0755"/>
                  <dgm:constr type="t" for="ch" forName="ParentAccent8" refType="h" fact="0.6776"/>
                  <dgm:constr type="w" for="ch" forName="ParentAccent8" refType="w" fact="0.0287"/>
                  <dgm:constr type="h" for="ch" forName="ParentAccent8" refType="h" fact="0.0608"/>
                  <dgm:constr type="r" for="ch" forName="ParentAccent9" refType="w" fact="0.0499"/>
                  <dgm:constr type="t" for="ch" forName="ParentAccent9" refType="h" fact="0.4801"/>
                  <dgm:constr type="w" for="ch" forName="ParentAccent9" refType="w" fact="0.0287"/>
                  <dgm:constr type="h" for="ch" forName="ParentAccent9" refType="h" fact="0.0608"/>
                  <dgm:constr type="r" for="ch" forName="ParentAccent10" refType="w" fact="0.0482"/>
                  <dgm:constr type="t" for="ch" forName="ParentAccent10" refType="h" fact="0.6233"/>
                  <dgm:constr type="w" for="ch" forName="ParentAccent10" refType="w" fact="0.0287"/>
                  <dgm:constr type="h" for="ch" forName="ParentAccent10" refType="h" fact="0.0608"/>
                  <dgm:constr type="r" for="ch" forName="Child3" refType="w"/>
                  <dgm:constr type="t" for="ch" forName="Child3" refType="h" fact="0.7822"/>
                  <dgm:constr type="w" for="ch" forName="Child3" refType="w" fact="0.3364"/>
                  <dgm:constr type="h" for="ch" forName="Child3" refType="h" fact="0.1564"/>
                  <dgm:constr type="r" for="ch" forName="Child2" refType="w"/>
                  <dgm:constr type="t" for="ch" forName="Child2" refType="h" fact="0.3955"/>
                  <dgm:constr type="w" for="ch" forName="Child2" refType="w" fact="0.2544"/>
                  <dgm:constr type="h" for="ch" forName="Child2" refType="h" fact="0.1564"/>
                  <dgm:constr type="r" for="ch" forName="Child1" refType="w"/>
                  <dgm:constr type="t" for="ch" forName="Child1" refType="h" fact="0"/>
                  <dgm:constr type="w" for="ch" forName="Child1" refType="w" fact="0.3364"/>
                  <dgm:constr type="h" for="ch" forName="Child1" refType="h" fact="0.1564"/>
                  <dgm:constr type="r" for="ch" forName="Parent" refType="w" fact="0.6347"/>
                  <dgm:constr type="t" for="ch" forName="Parent" refType="h" fact="0.2737"/>
                  <dgm:constr type="w" for="ch" forName="Parent" refType="w" fact="0.2906"/>
                  <dgm:constr type="h" for="ch" forName="Parent" refType="h" fact="0.6157"/>
                </dgm:constrLst>
              </dgm:if>
              <dgm:if name="Name19" axis="ch" ptType="node" func="cnt" op="equ" val="4">
                <dgm:alg type="composite">
                  <dgm:param type="ar" val="1.8304"/>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 refType="w" fact="0.6229"/>
                  <dgm:constr type="t" for="ch" forName="Parent" refType="h" fact="0.2946"/>
                  <dgm:constr type="w" for="ch" forName="Parent" refType="w" fact="0.2862"/>
                  <dgm:constr type="h" for="ch" forName="Parent" refType="h" fact="0.5239"/>
                  <dgm:constr type="r" for="ch" forName="Child1Accent1" refType="w" fact="0.6096"/>
                  <dgm:constr type="t" for="ch" forName="Child1Accent1" refType="h" fact="0.2104"/>
                  <dgm:constr type="w" for="ch" forName="Child1Accent1" refType="w" fact="0.0566"/>
                  <dgm:constr type="h" for="ch" forName="Child1Accent1" refType="h" fact="0.1035"/>
                  <dgm:constr type="r" for="ch" forName="Child1Accent3" refType="w" fact="0.6999"/>
                  <dgm:constr type="t" for="ch" forName="Child1Accent3" refType="h" fact="0.128"/>
                  <dgm:constr type="w" for="ch" forName="Child1Accent3" refType="w" fact="0.0283"/>
                  <dgm:constr type="h" for="ch" forName="Child1Accent3" refType="h" fact="0.0518"/>
                  <dgm:constr type="r" for="ch" forName="Child1Accent4" refType="w" fact="0.7582"/>
                  <dgm:constr type="t" for="ch" forName="Child1Accent4" refType="h" fact="0.128"/>
                  <dgm:constr type="w" for="ch" forName="Child1Accent4" refType="w" fact="0.0283"/>
                  <dgm:constr type="h" for="ch" forName="Child1Accent4" refType="h" fact="0.0518"/>
                  <dgm:constr type="r" for="ch" forName="Child1Accent5" refType="w" fact="0.8165"/>
                  <dgm:constr type="t" for="ch" forName="Child1Accent5" refType="h" fact="0.128"/>
                  <dgm:constr type="w" for="ch" forName="Child1Accent5" refType="w" fact="0.0283"/>
                  <dgm:constr type="h" for="ch" forName="Child1Accent5" refType="h" fact="0.0518"/>
                  <dgm:constr type="r" for="ch" forName="Child1Accent6" refType="w" fact="0.8748"/>
                  <dgm:constr type="t" for="ch" forName="Child1Accent6" refType="h" fact="0.128"/>
                  <dgm:constr type="w" for="ch" forName="Child1Accent6" refType="w" fact="0.0283"/>
                  <dgm:constr type="h" for="ch" forName="Child1Accent6" refType="h" fact="0.0518"/>
                  <dgm:constr type="r" for="ch" forName="Child3Accent1" refType="w" fact="0.6842"/>
                  <dgm:constr type="t" for="ch" forName="Child3Accent1" refType="h" fact="0.6212"/>
                  <dgm:constr type="w" for="ch" forName="Child3Accent1" refType="w" fact="0.0566"/>
                  <dgm:constr type="h" for="ch" forName="Child3Accent1" refType="h" fact="0.1035"/>
                  <dgm:constr type="r" for="ch" forName="Child3Accent2" refType="w" fact="0.7311"/>
                  <dgm:constr type="t" for="ch" forName="Child3Accent2" refType="h" fact="0.6828"/>
                  <dgm:constr type="w" for="ch" forName="Child3Accent2" refType="w" fact="0.0283"/>
                  <dgm:constr type="h" for="ch" forName="Child3Accent2" refType="h" fact="0.0518"/>
                  <dgm:constr type="r" for="ch" forName="Child3Accent4" refType="w" fact="0.8386"/>
                  <dgm:constr type="t" for="ch" forName="Child3Accent4" refType="h" fact="0.6828"/>
                  <dgm:constr type="w" for="ch" forName="Child3Accent4" refType="w" fact="0.0283"/>
                  <dgm:constr type="h" for="ch" forName="Child3Accent4" refType="h" fact="0.0518"/>
                  <dgm:constr type="r" for="ch" forName="Child3Accent5" refType="w" fact="0.8923"/>
                  <dgm:constr type="t" for="ch" forName="Child3Accent5" refType="h" fact="0.6828"/>
                  <dgm:constr type="w" for="ch" forName="Child3Accent5" refType="w" fact="0.0283"/>
                  <dgm:constr type="h" for="ch" forName="Child3Accent5" refType="h" fact="0.0518"/>
                  <dgm:constr type="r" for="ch" forName="Child1Accent7" refType="w" fact="0.9332"/>
                  <dgm:constr type="t" for="ch" forName="Child1Accent7" refType="h" fact="0.128"/>
                  <dgm:constr type="w" for="ch" forName="Child1Accent7" refType="w" fact="0.0283"/>
                  <dgm:constr type="h" for="ch" forName="Child1Accent7" refType="h" fact="0.0518"/>
                  <dgm:constr type="r" for="ch" forName="Child3Accent6" refType="w" fact="0.9461"/>
                  <dgm:constr type="t" for="ch" forName="Child3Accent6" refType="h" fact="0.6828"/>
                  <dgm:constr type="w" for="ch" forName="Child3Accent6" refType="w" fact="0.0283"/>
                  <dgm:constr type="h" for="ch" forName="Child3Accent6" refType="h" fact="0.0518"/>
                  <dgm:constr type="r" for="ch" forName="Child1Accent8" refType="w" fact="0.9915"/>
                  <dgm:constr type="t" for="ch" forName="Child1Accent8" refType="h" fact="0.128"/>
                  <dgm:constr type="w" for="ch" forName="Child1Accent8" refType="w" fact="0.0283"/>
                  <dgm:constr type="h" for="ch" forName="Child1Accent8" refType="h" fact="0.0518"/>
                  <dgm:constr type="r" for="ch" forName="Child1Accent9" refType="w" fact="0"/>
                  <dgm:constr type="t" for="ch" forName="Child1Accent9" refType="h" fact="0"/>
                  <dgm:constr type="w" for="ch" forName="Child1Accent9" refType="w" fact="0"/>
                  <dgm:constr type="h" for="ch" forName="Child1Accent9" refType="h" fact="0"/>
                  <dgm:constr type="r" for="ch" forName="Child3Accent7" refType="w" fact="0.9998"/>
                  <dgm:constr type="t" for="ch" forName="Child3Accent7" refType="h" fact="0.6828"/>
                  <dgm:constr type="w" for="ch" forName="Child3Accent7" refType="w" fact="0.0283"/>
                  <dgm:constr type="h" for="ch" forName="Child3Accent7" refType="h" fact="0.0518"/>
                  <dgm:constr type="r" for="ch" forName="Child4Accent1" refType="w" fact="0.6096"/>
                  <dgm:constr type="t" for="ch" forName="Child4Accent1" refType="h" fact="0.8"/>
                  <dgm:constr type="w" for="ch" forName="Child4Accent1" refType="w" fact="0.0566"/>
                  <dgm:constr type="h" for="ch" forName="Child4Accent1" refType="h" fact="0.1035"/>
                  <dgm:constr type="r" for="ch" forName="Child4Accent3" refType="w" fact="0.7002"/>
                  <dgm:constr type="t" for="ch" forName="Child4Accent3" refType="h" fact="0.9482"/>
                  <dgm:constr type="w" for="ch" forName="Child4Accent3" refType="w" fact="0.0283"/>
                  <dgm:constr type="h" for="ch" forName="Child4Accent3" refType="h" fact="0.0518"/>
                  <dgm:constr type="r" for="ch" forName="Child4Accent4" refType="w" fact="0.7585"/>
                  <dgm:constr type="t" for="ch" forName="Child4Accent4" refType="h" fact="0.9482"/>
                  <dgm:constr type="w" for="ch" forName="Child4Accent4" refType="w" fact="0.0283"/>
                  <dgm:constr type="h" for="ch" forName="Child4Accent4" refType="h" fact="0.0518"/>
                  <dgm:constr type="r" for="ch" forName="Child4Accent5" refType="w" fact="0.8167"/>
                  <dgm:constr type="t" for="ch" forName="Child4Accent5" refType="h" fact="0.9482"/>
                  <dgm:constr type="w" for="ch" forName="Child4Accent5" refType="w" fact="0.0283"/>
                  <dgm:constr type="h" for="ch" forName="Child4Accent5" refType="h" fact="0.0518"/>
                  <dgm:constr type="r" for="ch" forName="Child4Accent6" refType="w" fact="0.8749"/>
                  <dgm:constr type="t" for="ch" forName="Child4Accent6" refType="h" fact="0.9482"/>
                  <dgm:constr type="w" for="ch" forName="Child4Accent6" refType="w" fact="0.0283"/>
                  <dgm:constr type="h" for="ch" forName="Child4Accent6" refType="h" fact="0.0518"/>
                  <dgm:constr type="r" for="ch" forName="Child4Accent7" refType="w" fact="0.9332"/>
                  <dgm:constr type="t" for="ch" forName="Child4Accent7" refType="h" fact="0.9482"/>
                  <dgm:constr type="w" for="ch" forName="Child4Accent7" refType="w" fact="0.0283"/>
                  <dgm:constr type="h" for="ch" forName="Child4Accent7" refType="h" fact="0.0518"/>
                  <dgm:constr type="r" for="ch" forName="Child4Accent8" refType="w" fact="0.9914"/>
                  <dgm:constr type="t" for="ch" forName="Child4Accent8" refType="h" fact="0.9482"/>
                  <dgm:constr type="w" for="ch" forName="Child4Accent8" refType="w" fact="0.0283"/>
                  <dgm:constr type="h" for="ch" forName="Child4Accent8" refType="h" fact="0.0518"/>
                  <dgm:constr type="r" for="ch" forName="Child2Accent1" refType="w" fact="0.6842"/>
                  <dgm:constr type="t" for="ch" forName="Child2Accent1" refType="h" fact="0.3725"/>
                  <dgm:constr type="w" for="ch" forName="Child2Accent1" refType="w" fact="0.0566"/>
                  <dgm:constr type="h" for="ch" forName="Child2Accent1" refType="h" fact="0.1035"/>
                  <dgm:constr type="r" for="ch" forName="Child4Accent2" refType="w" fact="0.642"/>
                  <dgm:constr type="t" for="ch" forName="Child4Accent2" refType="h" fact="0.8993"/>
                  <dgm:constr type="w" for="ch" forName="Child4Accent2" refType="w" fact="0.0283"/>
                  <dgm:constr type="h" for="ch" forName="Child4Accent2" refType="h" fact="0.0518"/>
                  <dgm:constr type="r" for="ch" forName="Child1Accent2" refType="w" fact="0.6415"/>
                  <dgm:constr type="t" for="ch" forName="Child1Accent2" refType="h" fact="0.162"/>
                  <dgm:constr type="w" for="ch" forName="Child1Accent2" refType="w" fact="0.0283"/>
                  <dgm:constr type="h" for="ch" forName="Child1Accent2" refType="h" fact="0.0518"/>
                  <dgm:constr type="r" for="ch" forName="Child3Accent3" refType="w" fact="0.7849"/>
                  <dgm:constr type="t" for="ch" forName="Child3Accent3" refType="h" fact="0.6828"/>
                  <dgm:constr type="w" for="ch" forName="Child3Accent3" refType="w" fact="0.0283"/>
                  <dgm:constr type="h" for="ch" forName="Child3Accent3" refType="h" fact="0.0518"/>
                  <dgm:constr type="r" for="ch" forName="Child2Accent2" refType="w" fact="0.7311"/>
                  <dgm:constr type="t" for="ch" forName="Child2Accent2" refType="h" fact="0.3937"/>
                  <dgm:constr type="w" for="ch" forName="Child2Accent2" refType="w" fact="0.0283"/>
                  <dgm:constr type="h" for="ch" forName="Child2Accent2" refType="h" fact="0.0518"/>
                  <dgm:constr type="r" for="ch" forName="Child2Accent4" refType="w" fact="0.8386"/>
                  <dgm:constr type="t" for="ch" forName="Child2Accent4" refType="h" fact="0.3937"/>
                  <dgm:constr type="w" for="ch" forName="Child2Accent4" refType="w" fact="0.0283"/>
                  <dgm:constr type="h" for="ch" forName="Child2Accent4" refType="h" fact="0.0518"/>
                  <dgm:constr type="r" for="ch" forName="Child2Accent5" refType="w" fact="0.8923"/>
                  <dgm:constr type="t" for="ch" forName="Child2Accent5" refType="h" fact="0.3937"/>
                  <dgm:constr type="w" for="ch" forName="Child2Accent5" refType="w" fact="0.0283"/>
                  <dgm:constr type="h" for="ch" forName="Child2Accent5" refType="h" fact="0.0518"/>
                  <dgm:constr type="r" for="ch" forName="Child2Accent6" refType="w" fact="0.9461"/>
                  <dgm:constr type="t" for="ch" forName="Child2Accent6" refType="h" fact="0.3937"/>
                  <dgm:constr type="w" for="ch" forName="Child2Accent6" refType="w" fact="0.0283"/>
                  <dgm:constr type="h" for="ch" forName="Child2Accent6" refType="h" fact="0.0518"/>
                  <dgm:constr type="r" for="ch" forName="Child2Accent7" refType="w" fact="0.9998"/>
                  <dgm:constr type="t" for="ch" forName="Child2Accent7" refType="h" fact="0.3937"/>
                  <dgm:constr type="w" for="ch" forName="Child2Accent7" refType="w" fact="0.0283"/>
                  <dgm:constr type="h" for="ch" forName="Child2Accent7" refType="h" fact="0.0518"/>
                  <dgm:constr type="r" for="ch" forName="Child2Accent3" refType="w" fact="0.7849"/>
                  <dgm:constr type="t" for="ch" forName="Child2Accent3" refType="h" fact="0.3937"/>
                  <dgm:constr type="w" for="ch" forName="Child2Accent3" refType="w" fact="0.0283"/>
                  <dgm:constr type="h" for="ch" forName="Child2Accent3" refType="h" fact="0.0518"/>
                  <dgm:constr type="r" for="ch" forName="ParentAccent1" refType="w" fact="0.0283"/>
                  <dgm:constr type="t" for="ch" forName="ParentAccent1" refType="h" fact="0.5316"/>
                  <dgm:constr type="w" for="ch" forName="ParentAccent1" refType="w" fact="0.0283"/>
                  <dgm:constr type="h" for="ch" forName="ParentAccent1" refType="h" fact="0.0518"/>
                  <dgm:constr type="r" for="ch" forName="ParentAccent2" refType="w" fact="0.0801"/>
                  <dgm:constr type="t" for="ch" forName="ParentAccent2" refType="h" fact="0.5316"/>
                  <dgm:constr type="w" for="ch" forName="ParentAccent2" refType="w" fact="0.0283"/>
                  <dgm:constr type="h" for="ch" forName="ParentAccent2" refType="h" fact="0.0518"/>
                  <dgm:constr type="r" for="ch" forName="ParentAccent3" refType="w" fact="0.1318"/>
                  <dgm:constr type="t" for="ch" forName="ParentAccent3" refType="h" fact="0.5316"/>
                  <dgm:constr type="w" for="ch" forName="ParentAccent3" refType="w" fact="0.0283"/>
                  <dgm:constr type="h" for="ch" forName="ParentAccent3" refType="h" fact="0.0518"/>
                  <dgm:constr type="r" for="ch" forName="ParentAccent4" refType="w" fact="0.1836"/>
                  <dgm:constr type="t" for="ch" forName="ParentAccent4" refType="h" fact="0.5316"/>
                  <dgm:constr type="w" for="ch" forName="ParentAccent4" refType="w" fact="0.0283"/>
                  <dgm:constr type="h" for="ch" forName="ParentAccent4" refType="h" fact="0.0518"/>
                  <dgm:constr type="r" for="ch" forName="ParentAccent5" refType="w" fact="0.2354"/>
                  <dgm:constr type="t" for="ch" forName="ParentAccent5" refType="h" fact="0.5316"/>
                  <dgm:constr type="w" for="ch" forName="ParentAccent5" refType="w" fact="0.0283"/>
                  <dgm:constr type="h" for="ch" forName="ParentAccent5" refType="h" fact="0.0518"/>
                  <dgm:constr type="r" for="ch" forName="ParentAccent6" refType="w" fact="0.3154"/>
                  <dgm:constr type="t" for="ch" forName="ParentAccent6" refType="h" fact="0.5057"/>
                  <dgm:constr type="w" for="ch" forName="ParentAccent6" refType="w" fact="0.0566"/>
                  <dgm:constr type="h" for="ch" forName="ParentAccent6" refType="h" fact="0.1035"/>
                  <dgm:constr type="r" for="ch" forName="ParentAccent7" refType="w" fact="0.0744"/>
                  <dgm:constr type="t" for="ch" forName="ParentAccent7" refType="h" fact="0.4247"/>
                  <dgm:constr type="w" for="ch" forName="ParentAccent7" refType="w" fact="0.0283"/>
                  <dgm:constr type="h" for="ch" forName="ParentAccent7" refType="h" fact="0.0518"/>
                  <dgm:constr type="r" for="ch" forName="ParentAccent8" refType="w" fact="0.0744"/>
                  <dgm:constr type="t" for="ch" forName="ParentAccent8" refType="h" fact="0.6392"/>
                  <dgm:constr type="w" for="ch" forName="ParentAccent8" refType="w" fact="0.0283"/>
                  <dgm:constr type="h" for="ch" forName="ParentAccent8" refType="h" fact="0.0518"/>
                  <dgm:constr type="r" for="ch" forName="ParentAccent9" refType="w" fact="0.0491"/>
                  <dgm:constr type="t" for="ch" forName="ParentAccent9" refType="h" fact="0.4712"/>
                  <dgm:constr type="w" for="ch" forName="ParentAccent9" refType="w" fact="0.0283"/>
                  <dgm:constr type="h" for="ch" forName="ParentAccent9" refType="h" fact="0.0518"/>
                  <dgm:constr type="r" for="ch" forName="ParentAccent10" refType="w" fact="0.0475"/>
                  <dgm:constr type="t" for="ch" forName="ParentAccent10" refType="h" fact="0.593"/>
                  <dgm:constr type="w" for="ch" forName="ParentAccent10" refType="w" fact="0.0283"/>
                  <dgm:constr type="h" for="ch" forName="ParentAccent10" refType="h" fact="0.0518"/>
                  <dgm:constr type="r" for="ch" forName="Child4" refType="w" fact="0.9919"/>
                  <dgm:constr type="t" for="ch" forName="Child4" refType="h" fact="0.8184"/>
                  <dgm:constr type="w" for="ch" forName="Child4" refType="w" fact="0.3192"/>
                  <dgm:constr type="h" for="ch" forName="Child4" refType="h" fact="0.1294"/>
                  <dgm:constr type="r" for="ch" forName="Child3" refType="w"/>
                  <dgm:constr type="t" for="ch" forName="Child3" refType="h" fact="0.5547"/>
                  <dgm:constr type="w" for="ch" forName="Child3" refType="w" fact="0.297"/>
                  <dgm:constr type="h" for="ch" forName="Child3" refType="h" fact="0.1294"/>
                  <dgm:constr type="r" for="ch" forName="Child2" refType="w"/>
                  <dgm:constr type="t" for="ch" forName="Child2" refType="h" fact="0.2662"/>
                  <dgm:constr type="w" for="ch" forName="Child2" refType="w" fact="0.297"/>
                  <dgm:constr type="h" for="ch" forName="Child2" refType="h" fact="0.1294"/>
                  <dgm:constr type="r" for="ch" forName="Child1" refType="w" fact="0.9919"/>
                  <dgm:constr type="t" for="ch" forName="Child1" refType="h" fact="0"/>
                  <dgm:constr type="w" for="ch" forName="Child1" refType="w" fact="0.3192"/>
                  <dgm:constr type="h" for="ch" forName="Child1" refType="h" fact="0.1294"/>
                </dgm:constrLst>
              </dgm:if>
              <dgm:else name="Name20">
                <dgm:alg type="composite">
                  <dgm:param type="ar" val="1.3278"/>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Child2Accent1" refType="w" fact="0.6564"/>
                  <dgm:constr type="t" for="ch" forName="Child2Accent1" refType="h" fact="0.3184"/>
                  <dgm:constr type="w" for="ch" forName="Child2Accent1" refType="w" fact="0.0574"/>
                  <dgm:constr type="h" for="ch" forName="Child2Accent1" refType="h" fact="0.0763"/>
                  <dgm:constr type="r" for="ch" forName="Child2Accent2" refType="w" fact="0.6932"/>
                  <dgm:constr type="t" for="ch" forName="Child2Accent2" refType="h" fact="0.2781"/>
                  <dgm:constr type="w" for="ch" forName="Child2Accent2" refType="w" fact="0.0287"/>
                  <dgm:constr type="h" for="ch" forName="Child2Accent2" refType="h" fact="0.0381"/>
                  <dgm:constr type="r" for="ch" forName="Child2Accent3" refType="w" fact="0.7545"/>
                  <dgm:constr type="t" for="ch" forName="Child2Accent3" refType="h" fact="0.2781"/>
                  <dgm:constr type="w" for="ch" forName="Child2Accent3" refType="w" fact="0.0287"/>
                  <dgm:constr type="h" for="ch" forName="Child2Accent3" refType="h" fact="0.0381"/>
                  <dgm:constr type="r" for="ch" forName="Child2Accent4" refType="w" fact="0.8158"/>
                  <dgm:constr type="t" for="ch" forName="Child2Accent4" refType="h" fact="0.2781"/>
                  <dgm:constr type="w" for="ch" forName="Child2Accent4" refType="w" fact="0.0287"/>
                  <dgm:constr type="h" for="ch" forName="Child2Accent4" refType="h" fact="0.0381"/>
                  <dgm:constr type="r" for="ch" forName="Child2Accent5" refType="w" fact="0.8771"/>
                  <dgm:constr type="t" for="ch" forName="Child2Accent5" refType="h" fact="0.2781"/>
                  <dgm:constr type="w" for="ch" forName="Child2Accent5" refType="w" fact="0.0287"/>
                  <dgm:constr type="h" for="ch" forName="Child2Accent5" refType="h" fact="0.0381"/>
                  <dgm:constr type="r" for="ch" forName="Child2Accent6" refType="w" fact="0.9385"/>
                  <dgm:constr type="t" for="ch" forName="Child2Accent6" refType="h" fact="0.2781"/>
                  <dgm:constr type="w" for="ch" forName="Child2Accent6" refType="w" fact="0.0287"/>
                  <dgm:constr type="h" for="ch" forName="Child2Accent6" refType="h" fact="0.0381"/>
                  <dgm:constr type="r" for="ch" forName="Child2Accent7" refType="w" fact="0.9998"/>
                  <dgm:constr type="t" for="ch" forName="Child2Accent7" refType="h" fact="0.2781"/>
                  <dgm:constr type="w" for="ch" forName="Child2Accent7" refType="w" fact="0.0287"/>
                  <dgm:constr type="h" for="ch" forName="Child2Accent7" refType="h" fact="0.0381"/>
                  <dgm:constr type="r" for="ch" forName="Child3Accent1" refType="w" fact="0.716"/>
                  <dgm:constr type="t" for="ch" forName="Child3Accent1" refType="h" fact="0.5061"/>
                  <dgm:constr type="w" for="ch" forName="Child3Accent1" refType="w" fact="0.0574"/>
                  <dgm:constr type="h" for="ch" forName="Child3Accent1" refType="h" fact="0.0763"/>
                  <dgm:constr type="r" for="ch" forName="Child3Accent2" refType="w" fact="0.7728"/>
                  <dgm:constr type="t" for="ch" forName="Child3Accent2" refType="h" fact="0.5252"/>
                  <dgm:constr type="w" for="ch" forName="Child3Accent2" refType="w" fact="0.0287"/>
                  <dgm:constr type="h" for="ch" forName="Child3Accent2" refType="h" fact="0.0381"/>
                  <dgm:constr type="r" for="ch" forName="Child3Accent3" refType="w" fact="0.8295"/>
                  <dgm:constr type="t" for="ch" forName="Child3Accent3" refType="h" fact="0.5252"/>
                  <dgm:constr type="w" for="ch" forName="Child3Accent3" refType="w" fact="0.0287"/>
                  <dgm:constr type="h" for="ch" forName="Child3Accent3" refType="h" fact="0.0381"/>
                  <dgm:constr type="r" for="ch" forName="Child3Accent4" refType="w" fact="0.8863"/>
                  <dgm:constr type="t" for="ch" forName="Child3Accent4" refType="h" fact="0.5252"/>
                  <dgm:constr type="w" for="ch" forName="Child3Accent4" refType="w" fact="0.0287"/>
                  <dgm:constr type="h" for="ch" forName="Child3Accent4" refType="h" fact="0.0381"/>
                  <dgm:constr type="r" for="ch" forName="Child3Accent5" refType="w" fact="0.943"/>
                  <dgm:constr type="t" for="ch" forName="Child3Accent5" refType="h" fact="0.5252"/>
                  <dgm:constr type="w" for="ch" forName="Child3Accent5" refType="w" fact="0.0287"/>
                  <dgm:constr type="h" for="ch" forName="Child3Accent5" refType="h" fact="0.0381"/>
                  <dgm:constr type="r" for="ch" forName="Child3Accent6" refType="w" fact="0.9998"/>
                  <dgm:constr type="t" for="ch" forName="Child3Accent6" refType="h" fact="0.5252"/>
                  <dgm:constr type="w" for="ch" forName="Child3Accent6" refType="w" fact="0.0287"/>
                  <dgm:constr type="h" for="ch" forName="Child3Accent6" refType="h" fact="0.0381"/>
                  <dgm:constr type="r" for="ch" forName="Child3Accent7" refType="w" fact="0"/>
                  <dgm:constr type="t" for="ch" forName="Child3Accent7" refType="h" fact="0"/>
                  <dgm:constr type="w" for="ch" forName="Child3Accent7" refType="w" fact="0"/>
                  <dgm:constr type="h" for="ch" forName="Child3Accent7" refType="h" fact="0"/>
                  <dgm:constr type="r" for="ch" forName="Child4Accent1" refType="w" fact="0.6564"/>
                  <dgm:constr type="t" for="ch" forName="Child4Accent1" refType="h" fact="0.6908"/>
                  <dgm:constr type="w" for="ch" forName="Child4Accent1" refType="w" fact="0.0574"/>
                  <dgm:constr type="h" for="ch" forName="Child4Accent1" refType="h" fact="0.0763"/>
                  <dgm:constr type="r" for="ch" forName="Child4Accent2" refType="w" fact="0.6932"/>
                  <dgm:constr type="t" for="ch" forName="Child4Accent2" refType="h" fact="0.7684"/>
                  <dgm:constr type="w" for="ch" forName="Child4Accent2" refType="w" fact="0.0287"/>
                  <dgm:constr type="h" for="ch" forName="Child4Accent2" refType="h" fact="0.0381"/>
                  <dgm:constr type="r" for="ch" forName="Child4Accent3" refType="w" fact="0.7545"/>
                  <dgm:constr type="t" for="ch" forName="Child4Accent3" refType="h" fact="0.7684"/>
                  <dgm:constr type="w" for="ch" forName="Child4Accent3" refType="w" fact="0.0287"/>
                  <dgm:constr type="h" for="ch" forName="Child4Accent3" refType="h" fact="0.0381"/>
                  <dgm:constr type="r" for="ch" forName="Child4Accent4" refType="w" fact="0.8158"/>
                  <dgm:constr type="t" for="ch" forName="Child4Accent4" refType="h" fact="0.7684"/>
                  <dgm:constr type="w" for="ch" forName="Child4Accent4" refType="w" fact="0.0287"/>
                  <dgm:constr type="h" for="ch" forName="Child4Accent4" refType="h" fact="0.0381"/>
                  <dgm:constr type="r" for="ch" forName="Child4Accent5" refType="w" fact="0.8771"/>
                  <dgm:constr type="t" for="ch" forName="Child4Accent5" refType="h" fact="0.7684"/>
                  <dgm:constr type="w" for="ch" forName="Child4Accent5" refType="w" fact="0.0287"/>
                  <dgm:constr type="h" for="ch" forName="Child4Accent5" refType="h" fact="0.0381"/>
                  <dgm:constr type="r" for="ch" forName="Child4Accent6" refType="w" fact="0.9385"/>
                  <dgm:constr type="t" for="ch" forName="Child4Accent6" refType="h" fact="0.7684"/>
                  <dgm:constr type="w" for="ch" forName="Child4Accent6" refType="w" fact="0.0287"/>
                  <dgm:constr type="h" for="ch" forName="Child4Accent6" refType="h" fact="0.0381"/>
                  <dgm:constr type="r" for="ch" forName="Child4Accent7" refType="w" fact="0.9998"/>
                  <dgm:constr type="t" for="ch" forName="Child4Accent7" refType="h" fact="0.7684"/>
                  <dgm:constr type="w" for="ch" forName="Child4Accent7" refType="w" fact="0.0287"/>
                  <dgm:constr type="h" for="ch" forName="Child4Accent7" refType="h" fact="0.0381"/>
                  <dgm:constr type="r" for="ch" forName="Child4Accent8" refType="w" fact="0"/>
                  <dgm:constr type="t" for="ch" forName="Child4Accent8" refType="h" fact="0"/>
                  <dgm:constr type="w" for="ch" forName="Child4Accent8" refType="w" fact="0"/>
                  <dgm:constr type="h" for="ch" forName="Child4Accent8" refType="h" fact="0"/>
                  <dgm:constr type="r" for="ch" forName="ParentAccent1" refType="w" fact="0.0287"/>
                  <dgm:constr type="t" for="ch" forName="ParentAccent1" refType="h" fact="0.5252"/>
                  <dgm:constr type="w" for="ch" forName="ParentAccent1" refType="w" fact="0.0287"/>
                  <dgm:constr type="h" for="ch" forName="ParentAccent1" refType="h" fact="0.0381"/>
                  <dgm:constr type="r" for="ch" forName="ParentAccent2" refType="w" fact="0.0813"/>
                  <dgm:constr type="t" for="ch" forName="ParentAccent2" refType="h" fact="0.5252"/>
                  <dgm:constr type="w" for="ch" forName="ParentAccent2" refType="w" fact="0.0287"/>
                  <dgm:constr type="h" for="ch" forName="ParentAccent2" refType="h" fact="0.0381"/>
                  <dgm:constr type="r" for="ch" forName="ParentAccent3" refType="w" fact="0.1339"/>
                  <dgm:constr type="t" for="ch" forName="ParentAccent3" refType="h" fact="0.5252"/>
                  <dgm:constr type="w" for="ch" forName="ParentAccent3" refType="w" fact="0.0287"/>
                  <dgm:constr type="h" for="ch" forName="ParentAccent3" refType="h" fact="0.0381"/>
                  <dgm:constr type="r" for="ch" forName="ParentAccent4" refType="w" fact="0.1864"/>
                  <dgm:constr type="t" for="ch" forName="ParentAccent4" refType="h" fact="0.5252"/>
                  <dgm:constr type="w" for="ch" forName="ParentAccent4" refType="w" fact="0.0287"/>
                  <dgm:constr type="h" for="ch" forName="ParentAccent4" refType="h" fact="0.0381"/>
                  <dgm:constr type="r" for="ch" forName="ParentAccent5" refType="w" fact="0.239"/>
                  <dgm:constr type="t" for="ch" forName="ParentAccent5" refType="h" fact="0.5252"/>
                  <dgm:constr type="w" for="ch" forName="ParentAccent5" refType="w" fact="0.0287"/>
                  <dgm:constr type="h" for="ch" forName="ParentAccent5" refType="h" fact="0.0381"/>
                  <dgm:constr type="r" for="ch" forName="ParentAccent6" refType="w" fact="0.3203"/>
                  <dgm:constr type="t" for="ch" forName="ParentAccent6" refType="h" fact="0.5061"/>
                  <dgm:constr type="w" for="ch" forName="ParentAccent6" refType="w" fact="0.0574"/>
                  <dgm:constr type="h" for="ch" forName="ParentAccent6" refType="h" fact="0.0763"/>
                  <dgm:constr type="r" for="ch" forName="ParentAccent7" refType="w" fact="0.0755"/>
                  <dgm:constr type="t" for="ch" forName="ParentAccent7" refType="h" fact="0.4464"/>
                  <dgm:constr type="w" for="ch" forName="ParentAccent7" refType="w" fact="0.0287"/>
                  <dgm:constr type="h" for="ch" forName="ParentAccent7" refType="h" fact="0.0381"/>
                  <dgm:constr type="r" for="ch" forName="ParentAccent8" refType="w" fact="0.0755"/>
                  <dgm:constr type="t" for="ch" forName="ParentAccent8" refType="h" fact="0.6045"/>
                  <dgm:constr type="w" for="ch" forName="ParentAccent8" refType="w" fact="0.0287"/>
                  <dgm:constr type="h" for="ch" forName="ParentAccent8" refType="h" fact="0.0381"/>
                  <dgm:constr type="r" for="ch" forName="ParentAccent9" refType="w" fact="0.0499"/>
                  <dgm:constr type="t" for="ch" forName="ParentAccent9" refType="h" fact="0.4807"/>
                  <dgm:constr type="w" for="ch" forName="ParentAccent9" refType="w" fact="0.0287"/>
                  <dgm:constr type="h" for="ch" forName="ParentAccent9" refType="h" fact="0.0381"/>
                  <dgm:constr type="r" for="ch" forName="ParentAccent10" refType="w" fact="0.0482"/>
                  <dgm:constr type="t" for="ch" forName="ParentAccent10" refType="h" fact="0.5705"/>
                  <dgm:constr type="w" for="ch" forName="ParentAccent10" refType="w" fact="0.0287"/>
                  <dgm:constr type="h" for="ch" forName="ParentAccent10" refType="h" fact="0.0381"/>
                  <dgm:constr type="r" for="ch" forName="Child1Accent1" refType="w" fact="0.5181"/>
                  <dgm:constr type="t" for="ch" forName="Child1Accent1" refType="h" fact="0.2457"/>
                  <dgm:constr type="w" for="ch" forName="Child1Accent1" refType="w" fact="0.0574"/>
                  <dgm:constr type="h" for="ch" forName="Child1Accent1" refType="h" fact="0.0763"/>
                  <dgm:constr type="r" for="ch" forName="Child1Accent2" refType="w" fact="0.5542"/>
                  <dgm:constr type="t" for="ch" forName="Child1Accent2" refType="h" fact="0.2004"/>
                  <dgm:constr type="w" for="ch" forName="Child1Accent2" refType="w" fact="0.0287"/>
                  <dgm:constr type="h" for="ch" forName="Child1Accent2" refType="h" fact="0.0381"/>
                  <dgm:constr type="r" for="ch" forName="Child1Accent3" refType="w" fact="0.5946"/>
                  <dgm:constr type="t" for="ch" forName="Child1Accent3" refType="h" fact="0.1445"/>
                  <dgm:constr type="w" for="ch" forName="Child1Accent3" refType="w" fact="0.0287"/>
                  <dgm:constr type="h" for="ch" forName="Child1Accent3" refType="h" fact="0.0381"/>
                  <dgm:constr type="r" for="ch" forName="Child1Accent4" refType="w" fact="0.6347"/>
                  <dgm:constr type="t" for="ch" forName="Child1Accent4" refType="h" fact="0.097"/>
                  <dgm:constr type="w" for="ch" forName="Child1Accent4" refType="w" fact="0.0287"/>
                  <dgm:constr type="h" for="ch" forName="Child1Accent4" refType="h" fact="0.0381"/>
                  <dgm:constr type="r" for="ch" forName="Child1Accent5" refType="w" fact="0.696"/>
                  <dgm:constr type="t" for="ch" forName="Child1Accent5" refType="h" fact="0.097"/>
                  <dgm:constr type="w" for="ch" forName="Child1Accent5" refType="w" fact="0.0287"/>
                  <dgm:constr type="h" for="ch" forName="Child1Accent5" refType="h" fact="0.0381"/>
                  <dgm:constr type="r" for="ch" forName="Child1Accent6" refType="w" fact="0.7574"/>
                  <dgm:constr type="t" for="ch" forName="Child1Accent6" refType="h" fact="0.097"/>
                  <dgm:constr type="w" for="ch" forName="Child1Accent6" refType="w" fact="0.0287"/>
                  <dgm:constr type="h" for="ch" forName="Child1Accent6" refType="h" fact="0.0381"/>
                  <dgm:constr type="r" for="ch" forName="Child1Accent7" refType="w" fact="0.8187"/>
                  <dgm:constr type="t" for="ch" forName="Child1Accent7" refType="h" fact="0.097"/>
                  <dgm:constr type="w" for="ch" forName="Child1Accent7" refType="w" fact="0.0287"/>
                  <dgm:constr type="h" for="ch" forName="Child1Accent7" refType="h" fact="0.0381"/>
                  <dgm:constr type="r" for="ch" forName="Child1Accent8" refType="w" fact="0.88"/>
                  <dgm:constr type="t" for="ch" forName="Child1Accent8" refType="h" fact="0.097"/>
                  <dgm:constr type="w" for="ch" forName="Child1Accent8" refType="w" fact="0.0287"/>
                  <dgm:constr type="h" for="ch" forName="Child1Accent8" refType="h" fact="0.0381"/>
                  <dgm:constr type="r" for="ch" forName="Child1Accent9" refType="w" fact="0.9413"/>
                  <dgm:constr type="t" for="ch" forName="Child1Accent9" refType="h" fact="0.097"/>
                  <dgm:constr type="w" for="ch" forName="Child1Accent9" refType="w" fact="0.0287"/>
                  <dgm:constr type="h" for="ch" forName="Child1Accent9" refType="h" fact="0.0381"/>
                  <dgm:constr type="r" for="ch" forName="Child5Accent1" refType="w" fact="0.5181"/>
                  <dgm:constr type="t" for="ch" forName="Child5Accent1" refType="h" fact="0.7601"/>
                  <dgm:constr type="w" for="ch" forName="Child5Accent1" refType="w" fact="0.0574"/>
                  <dgm:constr type="h" for="ch" forName="Child5Accent1" refType="h" fact="0.0763"/>
                  <dgm:constr type="r" for="ch" forName="Child5Accent2" refType="w" fact="0.547"/>
                  <dgm:constr type="t" for="ch" forName="Child5Accent2" refType="h" fact="0.8375"/>
                  <dgm:constr type="w" for="ch" forName="Child5Accent2" refType="w" fact="0.0287"/>
                  <dgm:constr type="h" for="ch" forName="Child5Accent2" refType="h" fact="0.0381"/>
                  <dgm:constr type="r" for="ch" forName="Child5Accent3" refType="w" fact="0.5882"/>
                  <dgm:constr type="t" for="ch" forName="Child5Accent3" refType="h" fact="0.8991"/>
                  <dgm:constr type="w" for="ch" forName="Child5Accent3" refType="w" fact="0.0287"/>
                  <dgm:constr type="h" for="ch" forName="Child5Accent3" refType="h" fact="0.0381"/>
                  <dgm:constr type="r" for="ch" forName="Child5Accent4" refType="w" fact="0.6347"/>
                  <dgm:constr type="t" for="ch" forName="Child5Accent4" refType="h" fact="0.9619"/>
                  <dgm:constr type="w" for="ch" forName="Child5Accent4" refType="w" fact="0.0287"/>
                  <dgm:constr type="h" for="ch" forName="Child5Accent4" refType="h" fact="0.0381"/>
                  <dgm:constr type="r" for="ch" forName="Child5Accent5" refType="w" fact="0.696"/>
                  <dgm:constr type="t" for="ch" forName="Child5Accent5" refType="h" fact="0.9619"/>
                  <dgm:constr type="w" for="ch" forName="Child5Accent5" refType="w" fact="0.0287"/>
                  <dgm:constr type="h" for="ch" forName="Child5Accent5" refType="h" fact="0.0381"/>
                  <dgm:constr type="r" for="ch" forName="Child5Accent6" refType="w" fact="0.7574"/>
                  <dgm:constr type="t" for="ch" forName="Child5Accent6" refType="h" fact="0.9619"/>
                  <dgm:constr type="w" for="ch" forName="Child5Accent6" refType="w" fact="0.0287"/>
                  <dgm:constr type="h" for="ch" forName="Child5Accent6" refType="h" fact="0.0381"/>
                  <dgm:constr type="r" for="ch" forName="Child5Accent7" refType="w" fact="0.8187"/>
                  <dgm:constr type="t" for="ch" forName="Child5Accent7" refType="h" fact="0.9619"/>
                  <dgm:constr type="w" for="ch" forName="Child5Accent7" refType="w" fact="0.0287"/>
                  <dgm:constr type="h" for="ch" forName="Child5Accent7" refType="h" fact="0.0381"/>
                  <dgm:constr type="r" for="ch" forName="Child5Accent8" refType="w" fact="0.88"/>
                  <dgm:constr type="t" for="ch" forName="Child5Accent8" refType="h" fact="0.9619"/>
                  <dgm:constr type="w" for="ch" forName="Child5Accent8" refType="w" fact="0.0287"/>
                  <dgm:constr type="h" for="ch" forName="Child5Accent8" refType="h" fact="0.0381"/>
                  <dgm:constr type="r" for="ch" forName="Child5Accent9" refType="w" fact="0.9423"/>
                  <dgm:constr type="t" for="ch" forName="Child5Accent9" refType="h" fact="0.9619"/>
                  <dgm:constr type="w" for="ch" forName="Child5Accent9" refType="w" fact="0.0287"/>
                  <dgm:constr type="h" for="ch" forName="Child5Accent9" refType="h" fact="0.0381"/>
                  <dgm:constr type="r" for="ch" forName="Child5" refType="w" fact="0.9419"/>
                  <dgm:constr type="t" for="ch" forName="Child5" refType="h" fact="0.8635"/>
                  <dgm:constr type="w" for="ch" forName="Child5" refType="w" fact="0.3364"/>
                  <dgm:constr type="h" for="ch" forName="Child5" refType="h" fact="0.0981"/>
                  <dgm:constr type="r" for="ch" forName="Child4" refType="w"/>
                  <dgm:constr type="t" for="ch" forName="Child4" refType="h" fact="0.6701"/>
                  <dgm:constr type="w" for="ch" forName="Child4" refType="w" fact="0.3364"/>
                  <dgm:constr type="h" for="ch" forName="Child4" refType="h" fact="0.0981"/>
                  <dgm:constr type="r" for="ch" forName="Child3" refType="w"/>
                  <dgm:constr type="t" for="ch" forName="Child3" refType="h" fact="0.4276"/>
                  <dgm:constr type="w" for="ch" forName="Child3" refType="w" fact="0.2544"/>
                  <dgm:constr type="h" for="ch" forName="Child3" refType="h" fact="0.0981"/>
                  <dgm:constr type="r" for="ch" forName="Child2" refType="w"/>
                  <dgm:constr type="t" for="ch" forName="Child2" refType="h" fact="0.1798"/>
                  <dgm:constr type="w" for="ch" forName="Child2" refType="w" fact="0.3364"/>
                  <dgm:constr type="h" for="ch" forName="Child2" refType="h" fact="0.0981"/>
                  <dgm:constr type="r" for="ch" forName="Child1" refType="w" fact="0.9419"/>
                  <dgm:constr type="t" for="ch" forName="Child1" refType="h" fact="0"/>
                  <dgm:constr type="w" for="ch" forName="Child1" refType="w" fact="0.3364"/>
                  <dgm:constr type="h" for="ch" forName="Child1" refType="h" fact="0.0981"/>
                  <dgm:constr type="r" for="ch" forName="Parent" refType="w" fact="0.6347"/>
                  <dgm:constr type="t" for="ch" forName="Parent" refType="h" fact="0.3513"/>
                  <dgm:constr type="w" for="ch" forName="Parent" refType="w" fact="0.2906"/>
                  <dgm:constr type="h" for="ch" forName="Parent" refType="h" fact="0.3859"/>
                </dgm:constrLst>
              </dgm:else>
            </dgm:choose>
          </dgm:else>
        </dgm:choose>
        <dgm:layoutNode name="ParentAccent1" styleLbl="alignNode1">
          <dgm:alg type="sp"/>
          <dgm:shape xmlns:r="http://schemas.openxmlformats.org/officeDocument/2006/relationships" type="ellipse" r:blip="">
            <dgm:adjLst/>
          </dgm:shape>
          <dgm:presOf/>
        </dgm:layoutNode>
        <dgm:layoutNode name="ParentAccent2" styleLbl="alignNode1">
          <dgm:alg type="sp"/>
          <dgm:shape xmlns:r="http://schemas.openxmlformats.org/officeDocument/2006/relationships" type="ellipse" r:blip="">
            <dgm:adjLst/>
          </dgm:shape>
          <dgm:presOf/>
        </dgm:layoutNode>
        <dgm:layoutNode name="ParentAccent3" styleLbl="alignNode1">
          <dgm:alg type="sp"/>
          <dgm:shape xmlns:r="http://schemas.openxmlformats.org/officeDocument/2006/relationships" type="ellipse" r:blip="">
            <dgm:adjLst/>
          </dgm:shape>
          <dgm:presOf/>
        </dgm:layoutNode>
        <dgm:layoutNode name="ParentAccent4" styleLbl="alignNode1">
          <dgm:alg type="sp"/>
          <dgm:shape xmlns:r="http://schemas.openxmlformats.org/officeDocument/2006/relationships" type="ellipse" r:blip="">
            <dgm:adjLst/>
          </dgm:shape>
          <dgm:presOf/>
        </dgm:layoutNode>
        <dgm:layoutNode name="ParentAccent5" styleLbl="alignNode1">
          <dgm:alg type="sp"/>
          <dgm:shape xmlns:r="http://schemas.openxmlformats.org/officeDocument/2006/relationships" type="ellipse" r:blip="">
            <dgm:adjLst/>
          </dgm:shape>
          <dgm:presOf/>
        </dgm:layoutNode>
        <dgm:layoutNode name="ParentAccent6" styleLbl="alignNode1">
          <dgm:alg type="sp"/>
          <dgm:shape xmlns:r="http://schemas.openxmlformats.org/officeDocument/2006/relationships" type="ellipse" r:blip="">
            <dgm:adjLst/>
          </dgm:shape>
          <dgm:presOf/>
        </dgm:layoutNode>
        <dgm:layoutNode name="ParentAccent7" styleLbl="alignNode1">
          <dgm:alg type="sp"/>
          <dgm:shape xmlns:r="http://schemas.openxmlformats.org/officeDocument/2006/relationships" type="ellipse" r:blip="">
            <dgm:adjLst/>
          </dgm:shape>
          <dgm:presOf/>
        </dgm:layoutNode>
        <dgm:layoutNode name="ParentAccent8" styleLbl="alignNode1">
          <dgm:alg type="sp"/>
          <dgm:shape xmlns:r="http://schemas.openxmlformats.org/officeDocument/2006/relationships" type="ellipse" r:blip="">
            <dgm:adjLst/>
          </dgm:shape>
          <dgm:presOf/>
        </dgm:layoutNode>
        <dgm:layoutNode name="ParentAccent9" styleLbl="alignNode1">
          <dgm:alg type="sp"/>
          <dgm:shape xmlns:r="http://schemas.openxmlformats.org/officeDocument/2006/relationships" type="ellipse" r:blip="">
            <dgm:adjLst/>
          </dgm:shape>
          <dgm:presOf/>
        </dgm:layoutNode>
        <dgm:layoutNode name="ParentAccent10" styleLbl="alignNode1">
          <dgm:alg type="sp"/>
          <dgm:shape xmlns:r="http://schemas.openxmlformats.org/officeDocument/2006/relationships" type="ellipse" r:blip="">
            <dgm:adjLst/>
          </dgm:shape>
          <dgm:presOf/>
        </dgm:layoutNode>
        <dgm:layoutNode name="Parent" styleLbl="alignNode1">
          <dgm:varLst>
            <dgm:chMax val="5"/>
            <dgm:chPref val="3"/>
            <dgm:bulletEnabled val="1"/>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name="Name21" axis="ch" ptType="node" cnt="1">
          <dgm:layoutNode name="Child1Accent1" styleLbl="alignNode1">
            <dgm:alg type="sp"/>
            <dgm:shape xmlns:r="http://schemas.openxmlformats.org/officeDocument/2006/relationships" type="ellipse" r:blip="">
              <dgm:adjLst/>
            </dgm:shape>
            <dgm:presOf/>
          </dgm:layoutNode>
          <dgm:layoutNode name="Child1Accent2" styleLbl="alignNode1">
            <dgm:alg type="sp"/>
            <dgm:shape xmlns:r="http://schemas.openxmlformats.org/officeDocument/2006/relationships" type="ellipse" r:blip="">
              <dgm:adjLst/>
            </dgm:shape>
            <dgm:presOf/>
          </dgm:layoutNode>
          <dgm:layoutNode name="Child1Accent3" styleLbl="alignNode1">
            <dgm:alg type="sp"/>
            <dgm:shape xmlns:r="http://schemas.openxmlformats.org/officeDocument/2006/relationships" type="ellipse" r:blip="">
              <dgm:adjLst/>
            </dgm:shape>
            <dgm:presOf/>
          </dgm:layoutNode>
          <dgm:layoutNode name="Child1Accent4" styleLbl="alignNode1">
            <dgm:alg type="sp"/>
            <dgm:shape xmlns:r="http://schemas.openxmlformats.org/officeDocument/2006/relationships" type="ellipse" r:blip="">
              <dgm:adjLst/>
            </dgm:shape>
            <dgm:presOf/>
          </dgm:layoutNode>
          <dgm:layoutNode name="Child1Accent5" styleLbl="alignNode1">
            <dgm:alg type="sp"/>
            <dgm:shape xmlns:r="http://schemas.openxmlformats.org/officeDocument/2006/relationships" type="ellipse" r:blip="">
              <dgm:adjLst/>
            </dgm:shape>
            <dgm:presOf/>
          </dgm:layoutNode>
          <dgm:layoutNode name="Child1Accent6" styleLbl="alignNode1">
            <dgm:alg type="sp"/>
            <dgm:shape xmlns:r="http://schemas.openxmlformats.org/officeDocument/2006/relationships" type="ellipse" r:blip="">
              <dgm:adjLst/>
            </dgm:shape>
            <dgm:presOf/>
          </dgm:layoutNode>
          <dgm:layoutNode name="Child1Accent7" styleLbl="alignNode1">
            <dgm:alg type="sp"/>
            <dgm:shape xmlns:r="http://schemas.openxmlformats.org/officeDocument/2006/relationships" type="ellipse" r:blip="">
              <dgm:adjLst/>
            </dgm:shape>
            <dgm:presOf/>
          </dgm:layoutNode>
          <dgm:layoutNode name="Child1Accent8" styleLbl="alignNode1">
            <dgm:alg type="sp"/>
            <dgm:shape xmlns:r="http://schemas.openxmlformats.org/officeDocument/2006/relationships" type="ellipse" r:blip="">
              <dgm:adjLst/>
            </dgm:shape>
            <dgm:presOf/>
          </dgm:layoutNode>
          <dgm:layoutNode name="Child1Accent9" styleLbl="alignNode1">
            <dgm:alg type="sp"/>
            <dgm:shape xmlns:r="http://schemas.openxmlformats.org/officeDocument/2006/relationships" type="ellipse" r:blip="">
              <dgm:adjLst/>
            </dgm:shape>
            <dgm:presOf/>
          </dgm:layoutNode>
          <dgm:layoutNode name="Child1"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2" axis="ch" ptType="node" st="2" cnt="1">
          <dgm:layoutNode name="Child2Accent1" styleLbl="alignNode1">
            <dgm:alg type="sp"/>
            <dgm:shape xmlns:r="http://schemas.openxmlformats.org/officeDocument/2006/relationships" type="ellipse" r:blip="">
              <dgm:adjLst/>
            </dgm:shape>
            <dgm:presOf/>
          </dgm:layoutNode>
          <dgm:layoutNode name="Child2Accent2" styleLbl="alignNode1">
            <dgm:alg type="sp"/>
            <dgm:shape xmlns:r="http://schemas.openxmlformats.org/officeDocument/2006/relationships" type="ellipse" r:blip="">
              <dgm:adjLst/>
            </dgm:shape>
            <dgm:presOf/>
          </dgm:layoutNode>
          <dgm:layoutNode name="Child2Accent3" styleLbl="alignNode1">
            <dgm:alg type="sp"/>
            <dgm:shape xmlns:r="http://schemas.openxmlformats.org/officeDocument/2006/relationships" type="ellipse" r:blip="">
              <dgm:adjLst/>
            </dgm:shape>
            <dgm:presOf/>
          </dgm:layoutNode>
          <dgm:layoutNode name="Child2Accent4" styleLbl="alignNode1">
            <dgm:alg type="sp"/>
            <dgm:shape xmlns:r="http://schemas.openxmlformats.org/officeDocument/2006/relationships" type="ellipse" r:blip="">
              <dgm:adjLst/>
            </dgm:shape>
            <dgm:presOf/>
          </dgm:layoutNode>
          <dgm:layoutNode name="Child2Accent5" styleLbl="alignNode1">
            <dgm:alg type="sp"/>
            <dgm:shape xmlns:r="http://schemas.openxmlformats.org/officeDocument/2006/relationships" type="ellipse" r:blip="">
              <dgm:adjLst/>
            </dgm:shape>
            <dgm:presOf/>
          </dgm:layoutNode>
          <dgm:layoutNode name="Child2Accent6" styleLbl="alignNode1">
            <dgm:alg type="sp"/>
            <dgm:shape xmlns:r="http://schemas.openxmlformats.org/officeDocument/2006/relationships" type="ellipse" r:blip="">
              <dgm:adjLst/>
            </dgm:shape>
            <dgm:presOf/>
          </dgm:layoutNode>
          <dgm:layoutNode name="Child2Accent7" styleLbl="alignNode1">
            <dgm:alg type="sp"/>
            <dgm:shape xmlns:r="http://schemas.openxmlformats.org/officeDocument/2006/relationships" type="ellipse" r:blip="">
              <dgm:adjLst/>
            </dgm:shape>
            <dgm:presOf/>
          </dgm:layoutNode>
          <dgm:layoutNode name="Child2"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3" axis="ch" ptType="node" st="3" cnt="1">
          <dgm:layoutNode name="Child3Accent1" styleLbl="alignNode1">
            <dgm:alg type="sp"/>
            <dgm:shape xmlns:r="http://schemas.openxmlformats.org/officeDocument/2006/relationships" type="ellipse" r:blip="">
              <dgm:adjLst/>
            </dgm:shape>
            <dgm:presOf/>
          </dgm:layoutNode>
          <dgm:layoutNode name="Child3Accent2" styleLbl="alignNode1">
            <dgm:alg type="sp"/>
            <dgm:shape xmlns:r="http://schemas.openxmlformats.org/officeDocument/2006/relationships" type="ellipse" r:blip="">
              <dgm:adjLst/>
            </dgm:shape>
            <dgm:presOf/>
          </dgm:layoutNode>
          <dgm:layoutNode name="Child3Accent3" styleLbl="alignNode1">
            <dgm:alg type="sp"/>
            <dgm:shape xmlns:r="http://schemas.openxmlformats.org/officeDocument/2006/relationships" type="ellipse" r:blip="">
              <dgm:adjLst/>
            </dgm:shape>
            <dgm:presOf/>
          </dgm:layoutNode>
          <dgm:layoutNode name="Child3Accent4" styleLbl="alignNode1">
            <dgm:alg type="sp"/>
            <dgm:shape xmlns:r="http://schemas.openxmlformats.org/officeDocument/2006/relationships" type="ellipse" r:blip="">
              <dgm:adjLst/>
            </dgm:shape>
            <dgm:presOf/>
          </dgm:layoutNode>
          <dgm:layoutNode name="Child3Accent5" styleLbl="alignNode1">
            <dgm:alg type="sp"/>
            <dgm:shape xmlns:r="http://schemas.openxmlformats.org/officeDocument/2006/relationships" type="ellipse" r:blip="">
              <dgm:adjLst/>
            </dgm:shape>
            <dgm:presOf/>
          </dgm:layoutNode>
          <dgm:layoutNode name="Child3Accent6" styleLbl="alignNode1">
            <dgm:alg type="sp"/>
            <dgm:shape xmlns:r="http://schemas.openxmlformats.org/officeDocument/2006/relationships" type="ellipse" r:blip="">
              <dgm:adjLst/>
            </dgm:shape>
            <dgm:presOf/>
          </dgm:layoutNode>
          <dgm:layoutNode name="Child3Accent7" styleLbl="alignNode1">
            <dgm:alg type="sp"/>
            <dgm:shape xmlns:r="http://schemas.openxmlformats.org/officeDocument/2006/relationships" type="ellipse" r:blip="">
              <dgm:adjLst/>
            </dgm:shape>
            <dgm:presOf/>
          </dgm:layoutNode>
          <dgm:layoutNode name="Child3"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4" axis="ch" ptType="node" st="4" cnt="1">
          <dgm:layoutNode name="Child4Accent1" styleLbl="alignNode1">
            <dgm:alg type="sp"/>
            <dgm:shape xmlns:r="http://schemas.openxmlformats.org/officeDocument/2006/relationships" type="ellipse" r:blip="">
              <dgm:adjLst/>
            </dgm:shape>
            <dgm:presOf/>
          </dgm:layoutNode>
          <dgm:layoutNode name="Child4Accent2" styleLbl="alignNode1">
            <dgm:alg type="sp"/>
            <dgm:shape xmlns:r="http://schemas.openxmlformats.org/officeDocument/2006/relationships" type="ellipse" r:blip="">
              <dgm:adjLst/>
            </dgm:shape>
            <dgm:presOf/>
          </dgm:layoutNode>
          <dgm:layoutNode name="Child4Accent3" styleLbl="alignNode1">
            <dgm:alg type="sp"/>
            <dgm:shape xmlns:r="http://schemas.openxmlformats.org/officeDocument/2006/relationships" type="ellipse" r:blip="">
              <dgm:adjLst/>
            </dgm:shape>
            <dgm:presOf/>
          </dgm:layoutNode>
          <dgm:layoutNode name="Child4Accent4" styleLbl="alignNode1">
            <dgm:alg type="sp"/>
            <dgm:shape xmlns:r="http://schemas.openxmlformats.org/officeDocument/2006/relationships" type="ellipse" r:blip="">
              <dgm:adjLst/>
            </dgm:shape>
            <dgm:presOf/>
          </dgm:layoutNode>
          <dgm:layoutNode name="Child4Accent5" styleLbl="alignNode1">
            <dgm:alg type="sp"/>
            <dgm:shape xmlns:r="http://schemas.openxmlformats.org/officeDocument/2006/relationships" type="ellipse" r:blip="">
              <dgm:adjLst/>
            </dgm:shape>
            <dgm:presOf/>
          </dgm:layoutNode>
          <dgm:layoutNode name="Child4Accent6" styleLbl="alignNode1">
            <dgm:alg type="sp"/>
            <dgm:shape xmlns:r="http://schemas.openxmlformats.org/officeDocument/2006/relationships" type="ellipse" r:blip="">
              <dgm:adjLst/>
            </dgm:shape>
            <dgm:presOf/>
          </dgm:layoutNode>
          <dgm:layoutNode name="Child4Accent7" styleLbl="alignNode1">
            <dgm:alg type="sp"/>
            <dgm:shape xmlns:r="http://schemas.openxmlformats.org/officeDocument/2006/relationships" type="ellipse" r:blip="">
              <dgm:adjLst/>
            </dgm:shape>
            <dgm:presOf/>
          </dgm:layoutNode>
          <dgm:layoutNode name="Child4Accent8" styleLbl="alignNode1">
            <dgm:alg type="sp"/>
            <dgm:shape xmlns:r="http://schemas.openxmlformats.org/officeDocument/2006/relationships" type="ellipse" r:blip="">
              <dgm:adjLst/>
            </dgm:shape>
            <dgm:presOf/>
          </dgm:layoutNode>
          <dgm:layoutNode name="Child4"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5" axis="ch" ptType="node" st="5" cnt="1">
          <dgm:layoutNode name="Child5Accent1" styleLbl="alignNode1">
            <dgm:alg type="sp"/>
            <dgm:shape xmlns:r="http://schemas.openxmlformats.org/officeDocument/2006/relationships" type="ellipse" r:blip="">
              <dgm:adjLst/>
            </dgm:shape>
            <dgm:presOf/>
          </dgm:layoutNode>
          <dgm:layoutNode name="Child5Accent2" styleLbl="alignNode1">
            <dgm:alg type="sp"/>
            <dgm:shape xmlns:r="http://schemas.openxmlformats.org/officeDocument/2006/relationships" type="ellipse" r:blip="">
              <dgm:adjLst/>
            </dgm:shape>
            <dgm:presOf/>
          </dgm:layoutNode>
          <dgm:layoutNode name="Child5Accent3" styleLbl="alignNode1">
            <dgm:alg type="sp"/>
            <dgm:shape xmlns:r="http://schemas.openxmlformats.org/officeDocument/2006/relationships" type="ellipse" r:blip="">
              <dgm:adjLst/>
            </dgm:shape>
            <dgm:presOf/>
          </dgm:layoutNode>
          <dgm:layoutNode name="Child5Accent4" styleLbl="alignNode1">
            <dgm:alg type="sp"/>
            <dgm:shape xmlns:r="http://schemas.openxmlformats.org/officeDocument/2006/relationships" type="ellipse" r:blip="">
              <dgm:adjLst/>
            </dgm:shape>
            <dgm:presOf/>
          </dgm:layoutNode>
          <dgm:layoutNode name="Child5Accent5" styleLbl="alignNode1">
            <dgm:alg type="sp"/>
            <dgm:shape xmlns:r="http://schemas.openxmlformats.org/officeDocument/2006/relationships" type="ellipse" r:blip="">
              <dgm:adjLst/>
            </dgm:shape>
            <dgm:presOf/>
          </dgm:layoutNode>
          <dgm:layoutNode name="Child5Accent6" styleLbl="alignNode1">
            <dgm:alg type="sp"/>
            <dgm:shape xmlns:r="http://schemas.openxmlformats.org/officeDocument/2006/relationships" type="ellipse" r:blip="">
              <dgm:adjLst/>
            </dgm:shape>
            <dgm:presOf/>
          </dgm:layoutNode>
          <dgm:layoutNode name="Child5Accent7" styleLbl="alignNode1">
            <dgm:alg type="sp"/>
            <dgm:shape xmlns:r="http://schemas.openxmlformats.org/officeDocument/2006/relationships" type="ellipse" r:blip="">
              <dgm:adjLst/>
            </dgm:shape>
            <dgm:presOf/>
          </dgm:layoutNode>
          <dgm:layoutNode name="Child5Accent8" styleLbl="alignNode1">
            <dgm:alg type="sp"/>
            <dgm:shape xmlns:r="http://schemas.openxmlformats.org/officeDocument/2006/relationships" type="ellipse" r:blip="">
              <dgm:adjLst/>
            </dgm:shape>
            <dgm:presOf/>
          </dgm:layoutNode>
          <dgm:layoutNode name="Child5Accent9" styleLbl="alignNode1">
            <dgm:alg type="sp"/>
            <dgm:shape xmlns:r="http://schemas.openxmlformats.org/officeDocument/2006/relationships" type="ellipse" r:blip="">
              <dgm:adjLst/>
            </dgm:shape>
            <dgm:presOf/>
          </dgm:layoutNode>
          <dgm:layoutNode name="Child5"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8DA8654-2624-4F44-9F70-70E2D9D124EF}" type="datetimeFigureOut">
              <a:rPr lang="en-IN" smtClean="0"/>
              <a:t>06-07-2022</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A67B85-876F-4CB6-BED5-680CA9E302A8}" type="slidenum">
              <a:rPr lang="en-IN" smtClean="0"/>
              <a:t>‹#›</a:t>
            </a:fld>
            <a:endParaRPr lang="en-IN"/>
          </a:p>
        </p:txBody>
      </p:sp>
    </p:spTree>
    <p:extLst>
      <p:ext uri="{BB962C8B-B14F-4D97-AF65-F5344CB8AC3E}">
        <p14:creationId xmlns:p14="http://schemas.microsoft.com/office/powerpoint/2010/main" val="41830012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en.wikipedia.org/wiki/Systems_Development_Life_Cycle"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en.wikipedia.org/wiki/Rapid_application_development#cite_note-7" TargetMode="External"/><Relationship Id="rId5" Type="http://schemas.openxmlformats.org/officeDocument/2006/relationships/hyperlink" Target="https://en.wikipedia.org/wiki/CASE_tools" TargetMode="External"/><Relationship Id="rId4" Type="http://schemas.openxmlformats.org/officeDocument/2006/relationships/hyperlink" Target="https://en.wikipedia.org/wiki/Joint_Application_Design"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en.wikipedia.org/wiki/Systems_Development_Life_Cycle"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en.wikipedia.org/wiki/Rapid_application_development#cite_note-7" TargetMode="External"/><Relationship Id="rId5" Type="http://schemas.openxmlformats.org/officeDocument/2006/relationships/hyperlink" Target="https://en.wikipedia.org/wiki/CASE_tools" TargetMode="External"/><Relationship Id="rId4" Type="http://schemas.openxmlformats.org/officeDocument/2006/relationships/hyperlink" Target="https://en.wikipedia.org/wiki/Joint_Application_Design" TargetMode="Externa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s://www.thebalancecareers.com/how-to-do-human-resources-strategic-planning-1918404" TargetMode="External"/><Relationship Id="rId3" Type="http://schemas.openxmlformats.org/officeDocument/2006/relationships/hyperlink" Target="https://www.thebalancecareers.com/michael-roberts-1669337" TargetMode="External"/><Relationship Id="rId7" Type="http://schemas.openxmlformats.org/officeDocument/2006/relationships/hyperlink" Target="https://www.thebalancecareers.com/create-a-project-budget-2779550"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www.thebalancecareers.com/three-critical-project-management-terms-to-know-2276111" TargetMode="External"/><Relationship Id="rId5" Type="http://schemas.openxmlformats.org/officeDocument/2006/relationships/hyperlink" Target="https://www.thebalancecareers.com/what-is-a-project-charter-2779599" TargetMode="External"/><Relationship Id="rId10" Type="http://schemas.openxmlformats.org/officeDocument/2006/relationships/hyperlink" Target="https://www.thebalancecareers.com/stakeholder-management-plan-1669432" TargetMode="External"/><Relationship Id="rId4" Type="http://schemas.openxmlformats.org/officeDocument/2006/relationships/hyperlink" Target="https://www.thebalancecareers.com/what-a-project-manager-does-all-day-3963577" TargetMode="External"/><Relationship Id="rId9" Type="http://schemas.openxmlformats.org/officeDocument/2006/relationships/hyperlink" Target="https://www.thebalancecareers.com/how-to-ask-for-help-from-a-project-sponsor-1669645"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
        <p:cNvGrpSpPr/>
        <p:nvPr/>
      </p:nvGrpSpPr>
      <p:grpSpPr>
        <a:xfrm>
          <a:off x="0" y="0"/>
          <a:ext cx="0" cy="0"/>
          <a:chOff x="0" y="0"/>
          <a:chExt cx="0" cy="0"/>
        </a:xfrm>
      </p:grpSpPr>
      <p:sp>
        <p:nvSpPr>
          <p:cNvPr id="113" name="Google Shape;113;g965e2dad24_0_1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4" name="Google Shape;114;g965e2dad24_0_1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02122"/>
                </a:solidFill>
                <a:effectLst/>
                <a:latin typeface="Arial" panose="020B0604020202020204" pitchFamily="34" charset="0"/>
              </a:rPr>
              <a:t>The James Martin approach to RAD divides the process into four distinct phases:</a:t>
            </a:r>
          </a:p>
          <a:p>
            <a:pPr algn="l">
              <a:buFont typeface="+mj-lt"/>
              <a:buAutoNum type="arabicPeriod"/>
            </a:pPr>
            <a:r>
              <a:rPr lang="en-US" b="1" i="0" dirty="0">
                <a:solidFill>
                  <a:srgbClr val="202122"/>
                </a:solidFill>
                <a:effectLst/>
                <a:latin typeface="Arial" panose="020B0604020202020204" pitchFamily="34" charset="0"/>
              </a:rPr>
              <a:t>Requirements planning phase</a:t>
            </a:r>
            <a:r>
              <a:rPr lang="en-US" b="0" i="0" dirty="0">
                <a:solidFill>
                  <a:srgbClr val="202122"/>
                </a:solidFill>
                <a:effectLst/>
                <a:latin typeface="Arial" panose="020B0604020202020204" pitchFamily="34" charset="0"/>
              </a:rPr>
              <a:t> – combines elements of the system planning and systems analysis phases of the </a:t>
            </a:r>
            <a:r>
              <a:rPr lang="en-US" b="0" i="0" u="none" strike="noStrike" dirty="0">
                <a:solidFill>
                  <a:srgbClr val="0645AD"/>
                </a:solidFill>
                <a:effectLst/>
                <a:latin typeface="Arial" panose="020B0604020202020204" pitchFamily="34" charset="0"/>
                <a:hlinkClick r:id="rId3" tooltip="Systems Development Life Cycle"/>
              </a:rPr>
              <a:t>Systems Development Life Cycle</a:t>
            </a:r>
            <a:r>
              <a:rPr lang="en-US" b="0" i="0" dirty="0">
                <a:solidFill>
                  <a:srgbClr val="202122"/>
                </a:solidFill>
                <a:effectLst/>
                <a:latin typeface="Arial" panose="020B0604020202020204" pitchFamily="34" charset="0"/>
              </a:rPr>
              <a:t> (SDLC). Users, managers, and IT staff members discuss and agree on business needs, project scope, constraints, and system requirements. It ends when the team agrees on the key issues and obtains management authorization to continue.</a:t>
            </a:r>
          </a:p>
          <a:p>
            <a:pPr algn="l">
              <a:buFont typeface="+mj-lt"/>
              <a:buAutoNum type="arabicPeriod"/>
            </a:pPr>
            <a:r>
              <a:rPr lang="en-US" b="1" i="0" dirty="0">
                <a:solidFill>
                  <a:srgbClr val="202122"/>
                </a:solidFill>
                <a:effectLst/>
                <a:latin typeface="Arial" panose="020B0604020202020204" pitchFamily="34" charset="0"/>
              </a:rPr>
              <a:t>User design phase</a:t>
            </a:r>
            <a:r>
              <a:rPr lang="en-US" b="0" i="0" dirty="0">
                <a:solidFill>
                  <a:srgbClr val="202122"/>
                </a:solidFill>
                <a:effectLst/>
                <a:latin typeface="Arial" panose="020B0604020202020204" pitchFamily="34" charset="0"/>
              </a:rPr>
              <a:t> – during this phase, users interact with systems analysts and develop models and prototypes that represent all system processes, inputs, and outputs. The RAD groups or subgroups typically use a combination of </a:t>
            </a:r>
            <a:r>
              <a:rPr lang="en-US" b="0" i="0" u="none" strike="noStrike" dirty="0">
                <a:solidFill>
                  <a:srgbClr val="0645AD"/>
                </a:solidFill>
                <a:effectLst/>
                <a:latin typeface="Arial" panose="020B0604020202020204" pitchFamily="34" charset="0"/>
                <a:hlinkClick r:id="rId4" tooltip="Joint Application Design"/>
              </a:rPr>
              <a:t>Joint Application Development</a:t>
            </a:r>
            <a:r>
              <a:rPr lang="en-US" b="0" i="0" dirty="0">
                <a:solidFill>
                  <a:srgbClr val="202122"/>
                </a:solidFill>
                <a:effectLst/>
                <a:latin typeface="Arial" panose="020B0604020202020204" pitchFamily="34" charset="0"/>
              </a:rPr>
              <a:t> (JAD) techniques and </a:t>
            </a:r>
            <a:r>
              <a:rPr lang="en-US" b="0" i="0" u="none" strike="noStrike" dirty="0">
                <a:solidFill>
                  <a:srgbClr val="0645AD"/>
                </a:solidFill>
                <a:effectLst/>
                <a:latin typeface="Arial" panose="020B0604020202020204" pitchFamily="34" charset="0"/>
                <a:hlinkClick r:id="rId5" tooltip="CASE tools"/>
              </a:rPr>
              <a:t>CASE tools</a:t>
            </a:r>
            <a:r>
              <a:rPr lang="en-US" b="0" i="0" dirty="0">
                <a:solidFill>
                  <a:srgbClr val="202122"/>
                </a:solidFill>
                <a:effectLst/>
                <a:latin typeface="Arial" panose="020B0604020202020204" pitchFamily="34" charset="0"/>
              </a:rPr>
              <a:t> to translate user needs into working models. </a:t>
            </a:r>
            <a:r>
              <a:rPr lang="en-US" b="0" i="1" dirty="0">
                <a:solidFill>
                  <a:srgbClr val="202122"/>
                </a:solidFill>
                <a:effectLst/>
                <a:latin typeface="Arial" panose="020B0604020202020204" pitchFamily="34" charset="0"/>
              </a:rPr>
              <a:t>User Design</a:t>
            </a:r>
            <a:r>
              <a:rPr lang="en-US" b="0" i="0" dirty="0">
                <a:solidFill>
                  <a:srgbClr val="202122"/>
                </a:solidFill>
                <a:effectLst/>
                <a:latin typeface="Arial" panose="020B0604020202020204" pitchFamily="34" charset="0"/>
              </a:rPr>
              <a:t> is a continuous interactive process that allows users to understand, modify, and eventually approve a working model of the system that meets their needs.</a:t>
            </a:r>
          </a:p>
          <a:p>
            <a:pPr algn="l">
              <a:buFont typeface="+mj-lt"/>
              <a:buAutoNum type="arabicPeriod"/>
            </a:pPr>
            <a:r>
              <a:rPr lang="en-US" b="1" i="0" dirty="0">
                <a:solidFill>
                  <a:srgbClr val="202122"/>
                </a:solidFill>
                <a:effectLst/>
                <a:latin typeface="Arial" panose="020B0604020202020204" pitchFamily="34" charset="0"/>
              </a:rPr>
              <a:t>Construction phase</a:t>
            </a:r>
            <a:r>
              <a:rPr lang="en-US" b="0" i="0" dirty="0">
                <a:solidFill>
                  <a:srgbClr val="202122"/>
                </a:solidFill>
                <a:effectLst/>
                <a:latin typeface="Arial" panose="020B0604020202020204" pitchFamily="34" charset="0"/>
              </a:rPr>
              <a:t> – focuses on program and application development task similar to the SDLC. In RAD, however, users continue to participate and can still suggest changes or improvements as actual screens or reports are developed. Its tasks are programming and application development, coding, unit-integration and system testing.</a:t>
            </a:r>
          </a:p>
          <a:p>
            <a:pPr algn="l">
              <a:buFont typeface="+mj-lt"/>
              <a:buAutoNum type="arabicPeriod"/>
            </a:pPr>
            <a:r>
              <a:rPr lang="en-US" b="1" i="0" dirty="0">
                <a:solidFill>
                  <a:srgbClr val="202122"/>
                </a:solidFill>
                <a:effectLst/>
                <a:latin typeface="Arial" panose="020B0604020202020204" pitchFamily="34" charset="0"/>
              </a:rPr>
              <a:t>Cutover phase</a:t>
            </a:r>
            <a:r>
              <a:rPr lang="en-US" b="0" i="0" dirty="0">
                <a:solidFill>
                  <a:srgbClr val="202122"/>
                </a:solidFill>
                <a:effectLst/>
                <a:latin typeface="Arial" panose="020B0604020202020204" pitchFamily="34" charset="0"/>
              </a:rPr>
              <a:t> – resembles the final tasks in the SDLC implementation phase, including data conversion, testing, changeover to the new system, and user training. Compared with traditional methods, the entire process is compressed. As a result, the new system is built, delivered, and placed in operation much sooner.</a:t>
            </a:r>
            <a:r>
              <a:rPr lang="en-US" b="0" i="0" u="none" strike="noStrike" baseline="30000" dirty="0">
                <a:solidFill>
                  <a:srgbClr val="0645AD"/>
                </a:solidFill>
                <a:effectLst/>
                <a:latin typeface="Arial" panose="020B0604020202020204" pitchFamily="34" charset="0"/>
                <a:hlinkClick r:id="rId6"/>
              </a:rPr>
              <a:t>[7]</a:t>
            </a:r>
            <a:endParaRPr lang="en-US" b="0" i="0" dirty="0">
              <a:solidFill>
                <a:srgbClr val="202122"/>
              </a:solidFill>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1BA67B85-876F-4CB6-BED5-680CA9E302A8}" type="slidenum">
              <a:rPr lang="en-IN" smtClean="0"/>
              <a:t>15</a:t>
            </a:fld>
            <a:endParaRPr lang="en-IN"/>
          </a:p>
        </p:txBody>
      </p:sp>
    </p:spTree>
    <p:extLst>
      <p:ext uri="{BB962C8B-B14F-4D97-AF65-F5344CB8AC3E}">
        <p14:creationId xmlns:p14="http://schemas.microsoft.com/office/powerpoint/2010/main" val="32386218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02122"/>
                </a:solidFill>
                <a:effectLst/>
                <a:latin typeface="Arial" panose="020B0604020202020204" pitchFamily="34" charset="0"/>
              </a:rPr>
              <a:t>The James Martin approach to RAD divides the process into four distinct phases:</a:t>
            </a:r>
          </a:p>
          <a:p>
            <a:pPr algn="l">
              <a:buFont typeface="+mj-lt"/>
              <a:buAutoNum type="arabicPeriod"/>
            </a:pPr>
            <a:r>
              <a:rPr lang="en-US" b="1" i="0" dirty="0">
                <a:solidFill>
                  <a:srgbClr val="202122"/>
                </a:solidFill>
                <a:effectLst/>
                <a:latin typeface="Arial" panose="020B0604020202020204" pitchFamily="34" charset="0"/>
              </a:rPr>
              <a:t>Requirements planning phase</a:t>
            </a:r>
            <a:r>
              <a:rPr lang="en-US" b="0" i="0" dirty="0">
                <a:solidFill>
                  <a:srgbClr val="202122"/>
                </a:solidFill>
                <a:effectLst/>
                <a:latin typeface="Arial" panose="020B0604020202020204" pitchFamily="34" charset="0"/>
              </a:rPr>
              <a:t> – combines elements of the system planning and systems analysis phases of the </a:t>
            </a:r>
            <a:r>
              <a:rPr lang="en-US" b="0" i="0" u="none" strike="noStrike" dirty="0">
                <a:solidFill>
                  <a:srgbClr val="0645AD"/>
                </a:solidFill>
                <a:effectLst/>
                <a:latin typeface="Arial" panose="020B0604020202020204" pitchFamily="34" charset="0"/>
                <a:hlinkClick r:id="rId3" tooltip="Systems Development Life Cycle"/>
              </a:rPr>
              <a:t>Systems Development Life Cycle</a:t>
            </a:r>
            <a:r>
              <a:rPr lang="en-US" b="0" i="0" dirty="0">
                <a:solidFill>
                  <a:srgbClr val="202122"/>
                </a:solidFill>
                <a:effectLst/>
                <a:latin typeface="Arial" panose="020B0604020202020204" pitchFamily="34" charset="0"/>
              </a:rPr>
              <a:t> (SDLC). Users, managers, and IT staff members discuss and agree on business needs, project scope, constraints, and system requirements. It ends when the team agrees on the key issues and obtains management authorization to continue.</a:t>
            </a:r>
          </a:p>
          <a:p>
            <a:pPr algn="l">
              <a:buFont typeface="+mj-lt"/>
              <a:buAutoNum type="arabicPeriod"/>
            </a:pPr>
            <a:r>
              <a:rPr lang="en-US" b="1" i="0" dirty="0">
                <a:solidFill>
                  <a:srgbClr val="202122"/>
                </a:solidFill>
                <a:effectLst/>
                <a:latin typeface="Arial" panose="020B0604020202020204" pitchFamily="34" charset="0"/>
              </a:rPr>
              <a:t>User design phase</a:t>
            </a:r>
            <a:r>
              <a:rPr lang="en-US" b="0" i="0" dirty="0">
                <a:solidFill>
                  <a:srgbClr val="202122"/>
                </a:solidFill>
                <a:effectLst/>
                <a:latin typeface="Arial" panose="020B0604020202020204" pitchFamily="34" charset="0"/>
              </a:rPr>
              <a:t> – during this phase, users interact with systems analysts and develop models and prototypes that represent all system processes, inputs, and outputs. The RAD groups or subgroups typically use a combination of </a:t>
            </a:r>
            <a:r>
              <a:rPr lang="en-US" b="0" i="0" u="none" strike="noStrike" dirty="0">
                <a:solidFill>
                  <a:srgbClr val="0645AD"/>
                </a:solidFill>
                <a:effectLst/>
                <a:latin typeface="Arial" panose="020B0604020202020204" pitchFamily="34" charset="0"/>
                <a:hlinkClick r:id="rId4" tooltip="Joint Application Design"/>
              </a:rPr>
              <a:t>Joint Application Development</a:t>
            </a:r>
            <a:r>
              <a:rPr lang="en-US" b="0" i="0" dirty="0">
                <a:solidFill>
                  <a:srgbClr val="202122"/>
                </a:solidFill>
                <a:effectLst/>
                <a:latin typeface="Arial" panose="020B0604020202020204" pitchFamily="34" charset="0"/>
              </a:rPr>
              <a:t> (JAD) techniques and </a:t>
            </a:r>
            <a:r>
              <a:rPr lang="en-US" b="0" i="0" u="none" strike="noStrike" dirty="0">
                <a:solidFill>
                  <a:srgbClr val="0645AD"/>
                </a:solidFill>
                <a:effectLst/>
                <a:latin typeface="Arial" panose="020B0604020202020204" pitchFamily="34" charset="0"/>
                <a:hlinkClick r:id="rId5" tooltip="CASE tools"/>
              </a:rPr>
              <a:t>CASE tools</a:t>
            </a:r>
            <a:r>
              <a:rPr lang="en-US" b="0" i="0" dirty="0">
                <a:solidFill>
                  <a:srgbClr val="202122"/>
                </a:solidFill>
                <a:effectLst/>
                <a:latin typeface="Arial" panose="020B0604020202020204" pitchFamily="34" charset="0"/>
              </a:rPr>
              <a:t> to translate user needs into working models. </a:t>
            </a:r>
            <a:r>
              <a:rPr lang="en-US" b="0" i="1" dirty="0">
                <a:solidFill>
                  <a:srgbClr val="202122"/>
                </a:solidFill>
                <a:effectLst/>
                <a:latin typeface="Arial" panose="020B0604020202020204" pitchFamily="34" charset="0"/>
              </a:rPr>
              <a:t>User Design</a:t>
            </a:r>
            <a:r>
              <a:rPr lang="en-US" b="0" i="0" dirty="0">
                <a:solidFill>
                  <a:srgbClr val="202122"/>
                </a:solidFill>
                <a:effectLst/>
                <a:latin typeface="Arial" panose="020B0604020202020204" pitchFamily="34" charset="0"/>
              </a:rPr>
              <a:t> is a continuous interactive process that allows users to understand, modify, and eventually approve a working model of the system that meets their needs.</a:t>
            </a:r>
          </a:p>
          <a:p>
            <a:pPr algn="l">
              <a:buFont typeface="+mj-lt"/>
              <a:buAutoNum type="arabicPeriod"/>
            </a:pPr>
            <a:r>
              <a:rPr lang="en-US" b="1" i="0" dirty="0">
                <a:solidFill>
                  <a:srgbClr val="202122"/>
                </a:solidFill>
                <a:effectLst/>
                <a:latin typeface="Arial" panose="020B0604020202020204" pitchFamily="34" charset="0"/>
              </a:rPr>
              <a:t>Construction phase</a:t>
            </a:r>
            <a:r>
              <a:rPr lang="en-US" b="0" i="0" dirty="0">
                <a:solidFill>
                  <a:srgbClr val="202122"/>
                </a:solidFill>
                <a:effectLst/>
                <a:latin typeface="Arial" panose="020B0604020202020204" pitchFamily="34" charset="0"/>
              </a:rPr>
              <a:t> – focuses on program and application development task similar to the SDLC. In RAD, however, users continue to participate and can still suggest changes or improvements as actual screens or reports are developed. Its tasks are programming and application development, coding, unit-integration and system testing.</a:t>
            </a:r>
          </a:p>
          <a:p>
            <a:pPr algn="l">
              <a:buFont typeface="+mj-lt"/>
              <a:buAutoNum type="arabicPeriod"/>
            </a:pPr>
            <a:r>
              <a:rPr lang="en-US" b="1" i="0" dirty="0">
                <a:solidFill>
                  <a:srgbClr val="202122"/>
                </a:solidFill>
                <a:effectLst/>
                <a:latin typeface="Arial" panose="020B0604020202020204" pitchFamily="34" charset="0"/>
              </a:rPr>
              <a:t>Cutover phase</a:t>
            </a:r>
            <a:r>
              <a:rPr lang="en-US" b="0" i="0" dirty="0">
                <a:solidFill>
                  <a:srgbClr val="202122"/>
                </a:solidFill>
                <a:effectLst/>
                <a:latin typeface="Arial" panose="020B0604020202020204" pitchFamily="34" charset="0"/>
              </a:rPr>
              <a:t> – resembles the final tasks in the SDLC implementation phase, including data conversion, testing, changeover to the new system, and user training. Compared with traditional methods, the entire process is compressed. As a result, the new system is built, delivered, and placed in operation much sooner.</a:t>
            </a:r>
            <a:r>
              <a:rPr lang="en-US" b="0" i="0" u="none" strike="noStrike" baseline="30000" dirty="0">
                <a:solidFill>
                  <a:srgbClr val="0645AD"/>
                </a:solidFill>
                <a:effectLst/>
                <a:latin typeface="Arial" panose="020B0604020202020204" pitchFamily="34" charset="0"/>
                <a:hlinkClick r:id="rId6"/>
              </a:rPr>
              <a:t>[7]</a:t>
            </a:r>
            <a:endParaRPr lang="en-US" b="0" i="0" dirty="0">
              <a:solidFill>
                <a:srgbClr val="202122"/>
              </a:solidFill>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1BA67B85-876F-4CB6-BED5-680CA9E302A8}" type="slidenum">
              <a:rPr lang="en-IN" smtClean="0"/>
              <a:t>16</a:t>
            </a:fld>
            <a:endParaRPr lang="en-IN"/>
          </a:p>
        </p:txBody>
      </p:sp>
    </p:spTree>
    <p:extLst>
      <p:ext uri="{BB962C8B-B14F-4D97-AF65-F5344CB8AC3E}">
        <p14:creationId xmlns:p14="http://schemas.microsoft.com/office/powerpoint/2010/main" val="39867959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22222"/>
                </a:solidFill>
                <a:effectLst/>
                <a:latin typeface="Publico"/>
              </a:rPr>
              <a:t>10 Critical Steps to Include in a Project Plan</a:t>
            </a:r>
          </a:p>
          <a:p>
            <a:pPr algn="l"/>
            <a:r>
              <a:rPr lang="en-US" b="1" i="0" cap="all" dirty="0">
                <a:solidFill>
                  <a:srgbClr val="666666"/>
                </a:solidFill>
                <a:effectLst/>
                <a:latin typeface="Rubik"/>
              </a:rPr>
              <a:t>BY</a:t>
            </a:r>
            <a:r>
              <a:rPr lang="en-US" b="0" i="0" dirty="0">
                <a:solidFill>
                  <a:srgbClr val="222222"/>
                </a:solidFill>
                <a:effectLst/>
                <a:latin typeface="Rubik"/>
              </a:rPr>
              <a:t> </a:t>
            </a:r>
            <a:r>
              <a:rPr lang="en-US" b="1" i="0" cap="all" dirty="0">
                <a:solidFill>
                  <a:srgbClr val="222222"/>
                </a:solidFill>
                <a:effectLst/>
                <a:latin typeface="Rubik"/>
                <a:hlinkClick r:id="rId3"/>
              </a:rPr>
              <a:t>MICHAEL ROBERTS</a:t>
            </a:r>
            <a:r>
              <a:rPr lang="en-US" b="1" i="0" cap="all" dirty="0">
                <a:solidFill>
                  <a:srgbClr val="222222"/>
                </a:solidFill>
                <a:effectLst/>
                <a:latin typeface="Rubik"/>
              </a:rPr>
              <a:t>   https://www.thebalancecareers.com/what-needs-to-be-in-a-project-plan-1669741</a:t>
            </a:r>
            <a:endParaRPr lang="en-US" b="0" i="0" dirty="0">
              <a:solidFill>
                <a:srgbClr val="222222"/>
              </a:solidFill>
              <a:effectLst/>
              <a:latin typeface="Rubik"/>
            </a:endParaRPr>
          </a:p>
          <a:p>
            <a:pPr algn="l"/>
            <a:r>
              <a:rPr lang="en-US" b="0" i="0" dirty="0">
                <a:solidFill>
                  <a:srgbClr val="222222"/>
                </a:solidFill>
                <a:effectLst/>
                <a:latin typeface="Rubik"/>
              </a:rPr>
              <a:t> </a:t>
            </a:r>
          </a:p>
          <a:p>
            <a:pPr algn="l"/>
            <a:r>
              <a:rPr lang="en-US" b="0" i="0" dirty="0">
                <a:solidFill>
                  <a:srgbClr val="222222"/>
                </a:solidFill>
                <a:effectLst/>
                <a:latin typeface="Rubik"/>
              </a:rPr>
              <a:t>A project plan is the culmination of meticulous planning by a </a:t>
            </a:r>
            <a:r>
              <a:rPr lang="en-US" b="0" i="0" u="none" strike="noStrike" dirty="0">
                <a:solidFill>
                  <a:srgbClr val="246FC8"/>
                </a:solidFill>
                <a:effectLst/>
                <a:latin typeface="Rubik"/>
                <a:hlinkClick r:id="rId4"/>
              </a:rPr>
              <a:t>project manager</a:t>
            </a:r>
            <a:r>
              <a:rPr lang="en-US" b="0" i="0" dirty="0">
                <a:solidFill>
                  <a:srgbClr val="222222"/>
                </a:solidFill>
                <a:effectLst/>
                <a:latin typeface="Rubik"/>
              </a:rPr>
              <a:t>. It is the master document that guides how a project will run, according to the manager’s intentions for each key facet of the project. Although project plans differ from company to company, there are ten critical elements or steps that should be included in an effective project plan to avoid confusion and forced improvisation during the project execution phase.</a:t>
            </a:r>
          </a:p>
          <a:p>
            <a:pPr algn="l"/>
            <a:r>
              <a:rPr lang="en-US" b="1" i="0" u="none" strike="noStrike" dirty="0">
                <a:solidFill>
                  <a:srgbClr val="222222"/>
                </a:solidFill>
                <a:effectLst/>
                <a:latin typeface="Publico"/>
              </a:rPr>
              <a:t>Project Goals</a:t>
            </a:r>
            <a:endParaRPr lang="en-US" b="1" i="0" dirty="0">
              <a:solidFill>
                <a:srgbClr val="222222"/>
              </a:solidFill>
              <a:effectLst/>
              <a:latin typeface="Publico"/>
            </a:endParaRPr>
          </a:p>
          <a:p>
            <a:pPr algn="l"/>
            <a:r>
              <a:rPr lang="en-US" b="0" i="0" dirty="0">
                <a:solidFill>
                  <a:srgbClr val="222222"/>
                </a:solidFill>
                <a:effectLst/>
                <a:latin typeface="Rubik"/>
              </a:rPr>
              <a:t>Marc Romanelli / Getty Images Project goals are defined in a </a:t>
            </a:r>
            <a:r>
              <a:rPr lang="en-US" b="0" i="0" u="none" strike="noStrike" dirty="0">
                <a:solidFill>
                  <a:srgbClr val="246FC8"/>
                </a:solidFill>
                <a:effectLst/>
                <a:latin typeface="Rubik"/>
                <a:hlinkClick r:id="rId5"/>
              </a:rPr>
              <a:t>project charter</a:t>
            </a:r>
            <a:r>
              <a:rPr lang="en-US" b="0" i="0" dirty="0">
                <a:solidFill>
                  <a:srgbClr val="222222"/>
                </a:solidFill>
                <a:effectLst/>
                <a:latin typeface="Rubik"/>
              </a:rPr>
              <a:t>, but they should be included in the project plan as well to further explain the goals of the project or to include the charter as an appendix. No matter how a project manager chooses to incorporate the goals into the project plan, the important thing is to maintain a clear link between the project charter—a project’s first key document—and the project’s second key document, its project plan.</a:t>
            </a:r>
          </a:p>
          <a:p>
            <a:pPr algn="l"/>
            <a:r>
              <a:rPr lang="en-US" b="1" i="0" u="none" strike="noStrike" dirty="0">
                <a:solidFill>
                  <a:srgbClr val="222222"/>
                </a:solidFill>
                <a:effectLst/>
                <a:latin typeface="Publico"/>
              </a:rPr>
              <a:t>Project Scope</a:t>
            </a:r>
            <a:endParaRPr lang="en-US" b="1" i="0" dirty="0">
              <a:solidFill>
                <a:srgbClr val="222222"/>
              </a:solidFill>
              <a:effectLst/>
              <a:latin typeface="Publico"/>
            </a:endParaRPr>
          </a:p>
          <a:p>
            <a:pPr algn="l"/>
            <a:r>
              <a:rPr lang="en-US" b="0" i="0" dirty="0">
                <a:solidFill>
                  <a:srgbClr val="222222"/>
                </a:solidFill>
                <a:effectLst/>
                <a:latin typeface="Rubik"/>
              </a:rPr>
              <a:t>Like project goals, ​the </a:t>
            </a:r>
            <a:r>
              <a:rPr lang="en-US" b="0" i="0" u="none" strike="noStrike" dirty="0">
                <a:solidFill>
                  <a:srgbClr val="246FC8"/>
                </a:solidFill>
                <a:effectLst/>
                <a:latin typeface="Rubik"/>
                <a:hlinkClick r:id="rId6"/>
              </a:rPr>
              <a:t>scope</a:t>
            </a:r>
            <a:r>
              <a:rPr lang="en-US" b="0" i="0" dirty="0">
                <a:solidFill>
                  <a:srgbClr val="222222"/>
                </a:solidFill>
                <a:effectLst/>
                <a:latin typeface="Rubik"/>
              </a:rPr>
              <a:t> is defined in the charter and should be further refined in the project plan by the project manager. By defining the scope, the project manager can begin to show what the project's goal or finished product will look like at the end. If the scope isn't defined, it can get expanded throughout the project and lead to cost overruns and missed deadlines.</a:t>
            </a:r>
          </a:p>
          <a:p>
            <a:pPr algn="l"/>
            <a:r>
              <a:rPr lang="en-US" b="0" i="0" dirty="0">
                <a:solidFill>
                  <a:srgbClr val="222222"/>
                </a:solidFill>
                <a:effectLst/>
                <a:latin typeface="Rubik"/>
              </a:rPr>
              <a:t>For example, if you're leading a marketing team to create a brochure for a company's product line, you should denote how many pages will it be and provide examples of how the finished product might look.</a:t>
            </a:r>
          </a:p>
          <a:p>
            <a:pPr algn="l"/>
            <a:r>
              <a:rPr lang="en-US" b="0" i="0" dirty="0">
                <a:solidFill>
                  <a:srgbClr val="222222"/>
                </a:solidFill>
                <a:effectLst/>
                <a:latin typeface="Rubik"/>
              </a:rPr>
              <a:t>For some team members, a brochure might mean two pages, while others might consider ten pages to be adequate. Defining the scope can get the entire team on the same page at the onset.</a:t>
            </a:r>
          </a:p>
          <a:p>
            <a:pPr algn="l"/>
            <a:r>
              <a:rPr lang="en-US" b="1" i="0" u="none" strike="noStrike" dirty="0">
                <a:solidFill>
                  <a:srgbClr val="222222"/>
                </a:solidFill>
                <a:effectLst/>
                <a:latin typeface="Publico"/>
              </a:rPr>
              <a:t>Milestones and Major Deliverables</a:t>
            </a:r>
            <a:endParaRPr lang="en-US" b="1" i="0" dirty="0">
              <a:solidFill>
                <a:srgbClr val="222222"/>
              </a:solidFill>
              <a:effectLst/>
              <a:latin typeface="Publico"/>
            </a:endParaRPr>
          </a:p>
          <a:p>
            <a:pPr algn="l"/>
            <a:r>
              <a:rPr lang="en-US" b="0" i="0" dirty="0">
                <a:solidFill>
                  <a:srgbClr val="222222"/>
                </a:solidFill>
                <a:effectLst/>
                <a:latin typeface="Rubik"/>
              </a:rPr>
              <a:t>The key achievements for a project are called milestones and the key work products are called major deliverables. They both represent the big components of work on a project. A project plan should identify these items, define them, and set deadlines for their completion.</a:t>
            </a:r>
          </a:p>
          <a:p>
            <a:pPr algn="l"/>
            <a:r>
              <a:rPr lang="en-US" b="0" i="0" dirty="0">
                <a:solidFill>
                  <a:srgbClr val="222222"/>
                </a:solidFill>
                <a:effectLst/>
                <a:latin typeface="Rubik"/>
              </a:rPr>
              <a:t>If an organization undertakes a project to develop new software, major deliverables could be the final list of business requirements and how to implement them.</a:t>
            </a:r>
          </a:p>
          <a:p>
            <a:pPr algn="l"/>
            <a:r>
              <a:rPr lang="en-US" b="0" i="0" dirty="0">
                <a:solidFill>
                  <a:srgbClr val="222222"/>
                </a:solidFill>
                <a:effectLst/>
                <a:latin typeface="Rubik"/>
              </a:rPr>
              <a:t>Following those, the project could have milestones for design completion, system testing, user acceptance testing, and the software rollout date. These milestones have work products associated with them, but they are more about the processes than the products themselves.</a:t>
            </a:r>
          </a:p>
          <a:p>
            <a:pPr algn="l"/>
            <a:r>
              <a:rPr lang="en-US" b="0" i="0" dirty="0">
                <a:solidFill>
                  <a:srgbClr val="222222"/>
                </a:solidFill>
                <a:effectLst/>
                <a:latin typeface="Rubik"/>
              </a:rPr>
              <a:t>Milestone and major deliverable deadlines do not have to be exact dates, but the more precise, the better. Precise dates help project managers break down work structures more accurately.</a:t>
            </a:r>
          </a:p>
          <a:p>
            <a:pPr algn="l"/>
            <a:r>
              <a:rPr lang="en-US" b="0" i="0" dirty="0">
                <a:solidFill>
                  <a:srgbClr val="222222"/>
                </a:solidFill>
                <a:effectLst/>
                <a:latin typeface="Rubik"/>
              </a:rPr>
              <a:t>In this stage of the plan, you'll be creating milestones so that you can take large or high-level deliverables and break them down into small deliverables, which can be outlined in the next step.  </a:t>
            </a:r>
          </a:p>
          <a:p>
            <a:pPr algn="l"/>
            <a:r>
              <a:rPr lang="en-US" b="1" i="0" u="none" strike="noStrike" dirty="0">
                <a:solidFill>
                  <a:srgbClr val="222222"/>
                </a:solidFill>
                <a:effectLst/>
                <a:latin typeface="Publico"/>
              </a:rPr>
              <a:t>Work Breakdown Structure</a:t>
            </a:r>
            <a:endParaRPr lang="en-US" b="1" i="0" dirty="0">
              <a:solidFill>
                <a:srgbClr val="222222"/>
              </a:solidFill>
              <a:effectLst/>
              <a:latin typeface="Publico"/>
            </a:endParaRPr>
          </a:p>
          <a:p>
            <a:pPr algn="l"/>
            <a:r>
              <a:rPr lang="en-US" b="0" i="0" dirty="0">
                <a:solidFill>
                  <a:srgbClr val="222222"/>
                </a:solidFill>
                <a:effectLst/>
                <a:latin typeface="Rubik"/>
              </a:rPr>
              <a:t>A work breakdown structure (WBS) deconstructs the milestones and major deliverables in a project into smaller chunks so one person can be assigned responsibility for each facet. In developing the work breakdown structure, the project manager considers many factors such as the strengths and weaknesses of project team members, the interdependencies among tasks, available resources, and the overall project deadline.</a:t>
            </a:r>
          </a:p>
          <a:p>
            <a:pPr algn="l"/>
            <a:r>
              <a:rPr lang="en-US" b="0" i="0" dirty="0">
                <a:solidFill>
                  <a:srgbClr val="222222"/>
                </a:solidFill>
                <a:effectLst/>
                <a:latin typeface="Rubik"/>
              </a:rPr>
              <a:t>Project managers are ultimately responsible for the success of the project, but they cannot do the work alone. The WBS is a tool the project manager uses to ensure accountability on the project because it tells the project sponsor, project team members, and stakeholders who are responsible for what. If the project manager is concerned about a task, they know exactly who to meet with regarding that concern.</a:t>
            </a:r>
          </a:p>
          <a:p>
            <a:pPr algn="l"/>
            <a:r>
              <a:rPr lang="en-US" b="1" i="0" u="none" strike="noStrike" dirty="0">
                <a:solidFill>
                  <a:srgbClr val="222222"/>
                </a:solidFill>
                <a:effectLst/>
                <a:latin typeface="Publico"/>
              </a:rPr>
              <a:t>Budget</a:t>
            </a:r>
            <a:endParaRPr lang="en-US" b="1" i="0" dirty="0">
              <a:solidFill>
                <a:srgbClr val="222222"/>
              </a:solidFill>
              <a:effectLst/>
              <a:latin typeface="Publico"/>
            </a:endParaRPr>
          </a:p>
          <a:p>
            <a:pPr algn="l"/>
            <a:r>
              <a:rPr lang="en-US" b="0" i="0" dirty="0">
                <a:solidFill>
                  <a:srgbClr val="222222"/>
                </a:solidFill>
                <a:effectLst/>
                <a:latin typeface="Rubik"/>
              </a:rPr>
              <a:t>A </a:t>
            </a:r>
            <a:r>
              <a:rPr lang="en-US" b="0" i="0" u="none" strike="noStrike" dirty="0">
                <a:solidFill>
                  <a:srgbClr val="246FC8"/>
                </a:solidFill>
                <a:effectLst/>
                <a:latin typeface="Rubik"/>
                <a:hlinkClick r:id="rId7"/>
              </a:rPr>
              <a:t>project’s budget</a:t>
            </a:r>
            <a:r>
              <a:rPr lang="en-US" b="0" i="0" dirty="0">
                <a:solidFill>
                  <a:srgbClr val="222222"/>
                </a:solidFill>
                <a:effectLst/>
                <a:latin typeface="Rubik"/>
              </a:rPr>
              <a:t> shows how much money is allocated to complete the project. The project manager is responsible for dispersing these resources appropriately. For a project that has vendors, the project manager ensures deliverables are completed according to contract terms, paying particular attention to quality. Some project budgets link to the human resources plan.</a:t>
            </a:r>
          </a:p>
          <a:p>
            <a:pPr algn="l"/>
            <a:r>
              <a:rPr lang="en-US" b="0" i="0" dirty="0">
                <a:solidFill>
                  <a:srgbClr val="222222"/>
                </a:solidFill>
                <a:effectLst/>
                <a:latin typeface="Rubik"/>
              </a:rPr>
              <a:t>It's important to establish the cost for each milestone and deliverable by looking at how much time is required, and the labor cost involved to complete the tasks. The cost of the project is tied to how long the project takes, which goes back to the scope of the project. The scope, milestones, tasks, and budget must be aligned and realistic. </a:t>
            </a:r>
          </a:p>
          <a:p>
            <a:pPr algn="l"/>
            <a:r>
              <a:rPr lang="en-US" b="1" i="0" u="none" strike="noStrike" dirty="0">
                <a:solidFill>
                  <a:srgbClr val="222222"/>
                </a:solidFill>
                <a:effectLst/>
                <a:latin typeface="Publico"/>
              </a:rPr>
              <a:t>Human Resources Plan</a:t>
            </a:r>
            <a:endParaRPr lang="en-US" b="1" i="0" dirty="0">
              <a:solidFill>
                <a:srgbClr val="222222"/>
              </a:solidFill>
              <a:effectLst/>
              <a:latin typeface="Publico"/>
            </a:endParaRPr>
          </a:p>
          <a:p>
            <a:pPr algn="l"/>
            <a:r>
              <a:rPr lang="en-US" b="0" i="0" dirty="0">
                <a:solidFill>
                  <a:srgbClr val="222222"/>
                </a:solidFill>
                <a:effectLst/>
                <a:latin typeface="Rubik"/>
              </a:rPr>
              <a:t>The </a:t>
            </a:r>
            <a:r>
              <a:rPr lang="en-US" b="0" i="0" u="none" strike="noStrike" dirty="0">
                <a:solidFill>
                  <a:srgbClr val="246FC8"/>
                </a:solidFill>
                <a:effectLst/>
                <a:latin typeface="Rubik"/>
                <a:hlinkClick r:id="rId8"/>
              </a:rPr>
              <a:t>human resources plan</a:t>
            </a:r>
            <a:r>
              <a:rPr lang="en-US" b="0" i="0" dirty="0">
                <a:solidFill>
                  <a:srgbClr val="222222"/>
                </a:solidFill>
                <a:effectLst/>
                <a:latin typeface="Rubik"/>
              </a:rPr>
              <a:t> shows how the project will be staffed. Sometimes known as the staffing plan, the HR plan defines who will be on the project team and how much of a time commitment each person is expected to make. In developing this plan, the project manager negotiates with team members and their supervisors on how much time each team member can devote to the project. If additional staff is needed to consult on the project but are is part of the project team, that also is documented in the staffing plan. Again, appropriate supervisors are consulted.</a:t>
            </a:r>
          </a:p>
          <a:p>
            <a:pPr algn="l"/>
            <a:r>
              <a:rPr lang="en-US" b="1" i="0" u="none" strike="noStrike" dirty="0">
                <a:solidFill>
                  <a:srgbClr val="222222"/>
                </a:solidFill>
                <a:effectLst/>
                <a:latin typeface="Publico"/>
              </a:rPr>
              <a:t>Risk Management Plan</a:t>
            </a:r>
            <a:endParaRPr lang="en-US" b="1" i="0" dirty="0">
              <a:solidFill>
                <a:srgbClr val="222222"/>
              </a:solidFill>
              <a:effectLst/>
              <a:latin typeface="Publico"/>
            </a:endParaRPr>
          </a:p>
          <a:p>
            <a:pPr algn="l"/>
            <a:r>
              <a:rPr lang="en-US" b="0" i="0" dirty="0">
                <a:solidFill>
                  <a:srgbClr val="222222"/>
                </a:solidFill>
                <a:effectLst/>
                <a:latin typeface="Rubik"/>
              </a:rPr>
              <a:t>Many things can go wrong on a project. While anticipating every possible disaster or minor hiccup is challenging, many pitfalls can be predicted. In the risk management plan, the project manager identifies risks to the project, the likelihood those scenarios will happen, and strategies to mitigate them. To formulate this plan, the project manager seeks input from the </a:t>
            </a:r>
            <a:r>
              <a:rPr lang="en-US" b="0" i="0" u="none" strike="noStrike" dirty="0">
                <a:solidFill>
                  <a:srgbClr val="246FC8"/>
                </a:solidFill>
                <a:effectLst/>
                <a:latin typeface="Rubik"/>
                <a:hlinkClick r:id="rId9"/>
              </a:rPr>
              <a:t>project sponsor</a:t>
            </a:r>
            <a:r>
              <a:rPr lang="en-US" b="0" i="0" dirty="0">
                <a:solidFill>
                  <a:srgbClr val="222222"/>
                </a:solidFill>
                <a:effectLst/>
                <a:latin typeface="Rubik"/>
              </a:rPr>
              <a:t>, project team, stakeholders, and internal experts.</a:t>
            </a:r>
          </a:p>
          <a:p>
            <a:pPr algn="l"/>
            <a:r>
              <a:rPr lang="en-US" b="0" i="0" dirty="0">
                <a:solidFill>
                  <a:srgbClr val="222222"/>
                </a:solidFill>
                <a:effectLst/>
                <a:latin typeface="Rubik"/>
              </a:rPr>
              <a:t>Mitigation strategies are put into place for risks that are likely to occur or have high costs associated with them. Risks that are unlikely to occur and ones that have low costs are noted in the plan, even though they don’t have mitigation strategies.</a:t>
            </a:r>
          </a:p>
          <a:p>
            <a:pPr algn="l"/>
            <a:r>
              <a:rPr lang="en-US" b="1" i="0" u="none" strike="noStrike" dirty="0">
                <a:solidFill>
                  <a:srgbClr val="222222"/>
                </a:solidFill>
                <a:effectLst/>
                <a:latin typeface="Publico"/>
              </a:rPr>
              <a:t>Communications Plan</a:t>
            </a:r>
            <a:endParaRPr lang="en-US" b="1" i="0" dirty="0">
              <a:solidFill>
                <a:srgbClr val="222222"/>
              </a:solidFill>
              <a:effectLst/>
              <a:latin typeface="Publico"/>
            </a:endParaRPr>
          </a:p>
          <a:p>
            <a:pPr algn="l"/>
            <a:r>
              <a:rPr lang="en-US" b="0" i="0" dirty="0">
                <a:solidFill>
                  <a:srgbClr val="222222"/>
                </a:solidFill>
                <a:effectLst/>
                <a:latin typeface="Rubik"/>
              </a:rPr>
              <a:t>A communications plan outlines how a project will be communicated to various audiences. Much like the work breakdown structure, a communications plan assigns responsibility for completing each component to a project team member.</a:t>
            </a:r>
          </a:p>
          <a:p>
            <a:pPr algn="l"/>
            <a:r>
              <a:rPr lang="en-US" b="0" i="0" dirty="0">
                <a:solidFill>
                  <a:srgbClr val="222222"/>
                </a:solidFill>
                <a:effectLst/>
                <a:latin typeface="Rubik"/>
              </a:rPr>
              <a:t>In this step, it's important to outline how issues will be communicated and resolved within the team and how often communication will be done to the team and the stakeholders or the boss. Each message has an intended audience. A communications plan helps project managers ensure the right information gets to the right people at the right time.</a:t>
            </a:r>
          </a:p>
          <a:p>
            <a:pPr algn="l"/>
            <a:r>
              <a:rPr lang="en-US" b="1" i="0" u="none" strike="noStrike" dirty="0">
                <a:solidFill>
                  <a:srgbClr val="222222"/>
                </a:solidFill>
                <a:effectLst/>
                <a:latin typeface="Publico"/>
              </a:rPr>
              <a:t>Stakeholder Management Plan</a:t>
            </a:r>
            <a:endParaRPr lang="en-US" b="1" i="0" dirty="0">
              <a:solidFill>
                <a:srgbClr val="222222"/>
              </a:solidFill>
              <a:effectLst/>
              <a:latin typeface="Publico"/>
            </a:endParaRPr>
          </a:p>
          <a:p>
            <a:pPr algn="l"/>
            <a:r>
              <a:rPr lang="en-US" b="0" i="0" dirty="0">
                <a:solidFill>
                  <a:srgbClr val="222222"/>
                </a:solidFill>
                <a:effectLst/>
                <a:latin typeface="Rubik"/>
              </a:rPr>
              <a:t>A </a:t>
            </a:r>
            <a:r>
              <a:rPr lang="en-US" b="0" i="0" u="none" strike="noStrike" dirty="0">
                <a:solidFill>
                  <a:srgbClr val="246FC8"/>
                </a:solidFill>
                <a:effectLst/>
                <a:latin typeface="Rubik"/>
                <a:hlinkClick r:id="rId10"/>
              </a:rPr>
              <a:t>stakeholder management plan</a:t>
            </a:r>
            <a:r>
              <a:rPr lang="en-US" b="0" i="0" dirty="0">
                <a:solidFill>
                  <a:srgbClr val="222222"/>
                </a:solidFill>
                <a:effectLst/>
                <a:latin typeface="Rubik"/>
              </a:rPr>
              <a:t> identifies how stakeholders will be used in the project. Sometimes stakeholders only need to receive information. That can be taken care of in the communications plan. If more is needed from stakeholders, a stakeholder management plan outlines how it will be obtained.</a:t>
            </a:r>
          </a:p>
          <a:p>
            <a:pPr algn="l"/>
            <a:r>
              <a:rPr lang="en-US" b="1" i="0" u="none" strike="noStrike" dirty="0">
                <a:solidFill>
                  <a:srgbClr val="222222"/>
                </a:solidFill>
                <a:effectLst/>
                <a:latin typeface="Publico"/>
              </a:rPr>
              <a:t>Change Management Plan</a:t>
            </a:r>
            <a:endParaRPr lang="en-US" b="1" i="0" dirty="0">
              <a:solidFill>
                <a:srgbClr val="222222"/>
              </a:solidFill>
              <a:effectLst/>
              <a:latin typeface="Publico"/>
            </a:endParaRPr>
          </a:p>
          <a:p>
            <a:pPr algn="l"/>
            <a:r>
              <a:rPr lang="en-US" b="0" i="0" dirty="0">
                <a:solidFill>
                  <a:srgbClr val="222222"/>
                </a:solidFill>
                <a:effectLst/>
                <a:latin typeface="Rubik"/>
              </a:rPr>
              <a:t>A change management plan lays out a framework for making changes to the project. Although project managers tend to want to avoid changes to the project, they are sometimes unavoidable. The change management plan provides protocols and processes for making changes. It is critical for accountability and transparency that project sponsors, project managers, and project team members follow the change management plan.</a:t>
            </a:r>
          </a:p>
          <a:p>
            <a:endParaRPr lang="en-IN" dirty="0"/>
          </a:p>
        </p:txBody>
      </p:sp>
      <p:sp>
        <p:nvSpPr>
          <p:cNvPr id="4" name="Slide Number Placeholder 3"/>
          <p:cNvSpPr>
            <a:spLocks noGrp="1"/>
          </p:cNvSpPr>
          <p:nvPr>
            <p:ph type="sldNum" sz="quarter" idx="5"/>
          </p:nvPr>
        </p:nvSpPr>
        <p:spPr/>
        <p:txBody>
          <a:bodyPr/>
          <a:lstStyle/>
          <a:p>
            <a:fld id="{1BA67B85-876F-4CB6-BED5-680CA9E302A8}" type="slidenum">
              <a:rPr lang="en-IN" smtClean="0"/>
              <a:t>17</a:t>
            </a:fld>
            <a:endParaRPr lang="en-IN"/>
          </a:p>
        </p:txBody>
      </p:sp>
    </p:spTree>
    <p:extLst>
      <p:ext uri="{BB962C8B-B14F-4D97-AF65-F5344CB8AC3E}">
        <p14:creationId xmlns:p14="http://schemas.microsoft.com/office/powerpoint/2010/main" val="22741251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52546F-4709-48C7-BB17-85C0355F3460}" type="slidenum">
              <a:rPr lang="en-US" smtClean="0"/>
              <a:t>18</a:t>
            </a:fld>
            <a:endParaRPr lang="en-US"/>
          </a:p>
        </p:txBody>
      </p:sp>
    </p:spTree>
    <p:extLst>
      <p:ext uri="{BB962C8B-B14F-4D97-AF65-F5344CB8AC3E}">
        <p14:creationId xmlns:p14="http://schemas.microsoft.com/office/powerpoint/2010/main" val="28516134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152546F-4709-48C7-BB17-85C0355F3460}" type="slidenum">
              <a:rPr lang="en-US" smtClean="0"/>
              <a:t>19</a:t>
            </a:fld>
            <a:endParaRPr lang="en-US"/>
          </a:p>
        </p:txBody>
      </p:sp>
    </p:spTree>
    <p:extLst>
      <p:ext uri="{BB962C8B-B14F-4D97-AF65-F5344CB8AC3E}">
        <p14:creationId xmlns:p14="http://schemas.microsoft.com/office/powerpoint/2010/main" val="21995723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students the phases of SDLC and how the project can be divided</a:t>
            </a:r>
            <a:endParaRPr lang="en-IN" dirty="0"/>
          </a:p>
        </p:txBody>
      </p:sp>
      <p:sp>
        <p:nvSpPr>
          <p:cNvPr id="4" name="Slide Number Placeholder 3"/>
          <p:cNvSpPr>
            <a:spLocks noGrp="1"/>
          </p:cNvSpPr>
          <p:nvPr>
            <p:ph type="sldNum" sz="quarter" idx="5"/>
          </p:nvPr>
        </p:nvSpPr>
        <p:spPr/>
        <p:txBody>
          <a:bodyPr/>
          <a:lstStyle/>
          <a:p>
            <a:fld id="{1BA67B85-876F-4CB6-BED5-680CA9E302A8}" type="slidenum">
              <a:rPr lang="en-IN" smtClean="0"/>
              <a:t>23</a:t>
            </a:fld>
            <a:endParaRPr lang="en-IN"/>
          </a:p>
        </p:txBody>
      </p:sp>
    </p:spTree>
    <p:extLst>
      <p:ext uri="{BB962C8B-B14F-4D97-AF65-F5344CB8AC3E}">
        <p14:creationId xmlns:p14="http://schemas.microsoft.com/office/powerpoint/2010/main" val="4252336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7"/>
        <p:cNvGrpSpPr/>
        <p:nvPr/>
      </p:nvGrpSpPr>
      <p:grpSpPr>
        <a:xfrm>
          <a:off x="0" y="0"/>
          <a:ext cx="0" cy="0"/>
          <a:chOff x="0" y="0"/>
          <a:chExt cx="0" cy="0"/>
        </a:xfrm>
      </p:grpSpPr>
      <p:sp>
        <p:nvSpPr>
          <p:cNvPr id="1378" name="Google Shape;1378;g96a1177a11_2_2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79" name="Google Shape;1379;g96a1177a11_2_2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include examples of each</a:t>
            </a:r>
            <a:endParaRPr lang="en-IN" dirty="0"/>
          </a:p>
        </p:txBody>
      </p:sp>
      <p:sp>
        <p:nvSpPr>
          <p:cNvPr id="4" name="Slide Number Placeholder 3"/>
          <p:cNvSpPr>
            <a:spLocks noGrp="1"/>
          </p:cNvSpPr>
          <p:nvPr>
            <p:ph type="sldNum" sz="quarter" idx="5"/>
          </p:nvPr>
        </p:nvSpPr>
        <p:spPr/>
        <p:txBody>
          <a:bodyPr/>
          <a:lstStyle/>
          <a:p>
            <a:fld id="{1BA67B85-876F-4CB6-BED5-680CA9E302A8}" type="slidenum">
              <a:rPr lang="en-IN" smtClean="0"/>
              <a:t>28</a:t>
            </a:fld>
            <a:endParaRPr lang="en-IN"/>
          </a:p>
        </p:txBody>
      </p:sp>
    </p:spTree>
    <p:extLst>
      <p:ext uri="{BB962C8B-B14F-4D97-AF65-F5344CB8AC3E}">
        <p14:creationId xmlns:p14="http://schemas.microsoft.com/office/powerpoint/2010/main" val="22733462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Kanban is similar to Scrum, in that it helps teams release software early and often. However, Kanban gives more flexibility in terms of planning and execution. Instead of working in time-based sprints, work is continuously delivered in Kanban, and your team pulls single pieces of work from the backlog, and then moves them to done.</a:t>
            </a:r>
            <a:endParaRPr lang="en-US" dirty="0"/>
          </a:p>
        </p:txBody>
      </p:sp>
      <p:sp>
        <p:nvSpPr>
          <p:cNvPr id="4" name="Slide Number Placeholder 3"/>
          <p:cNvSpPr>
            <a:spLocks noGrp="1"/>
          </p:cNvSpPr>
          <p:nvPr>
            <p:ph type="sldNum" sz="quarter" idx="5"/>
          </p:nvPr>
        </p:nvSpPr>
        <p:spPr/>
        <p:txBody>
          <a:bodyPr/>
          <a:lstStyle/>
          <a:p>
            <a:fld id="{1BA67B85-876F-4CB6-BED5-680CA9E302A8}" type="slidenum">
              <a:rPr lang="en-IN" smtClean="0"/>
              <a:t>32</a:t>
            </a:fld>
            <a:endParaRPr lang="en-IN"/>
          </a:p>
        </p:txBody>
      </p:sp>
    </p:spTree>
    <p:extLst>
      <p:ext uri="{BB962C8B-B14F-4D97-AF65-F5344CB8AC3E}">
        <p14:creationId xmlns:p14="http://schemas.microsoft.com/office/powerpoint/2010/main" val="36879480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1BA67B85-876F-4CB6-BED5-680CA9E302A8}" type="slidenum">
              <a:rPr lang="en-IN" smtClean="0"/>
              <a:t>35</a:t>
            </a:fld>
            <a:endParaRPr lang="en-IN"/>
          </a:p>
        </p:txBody>
      </p:sp>
    </p:spTree>
    <p:extLst>
      <p:ext uri="{BB962C8B-B14F-4D97-AF65-F5344CB8AC3E}">
        <p14:creationId xmlns:p14="http://schemas.microsoft.com/office/powerpoint/2010/main" val="34285312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about POC </a:t>
            </a:r>
          </a:p>
          <a:p>
            <a:endParaRPr lang="en-IN" dirty="0"/>
          </a:p>
        </p:txBody>
      </p:sp>
      <p:sp>
        <p:nvSpPr>
          <p:cNvPr id="4" name="Slide Number Placeholder 3"/>
          <p:cNvSpPr>
            <a:spLocks noGrp="1"/>
          </p:cNvSpPr>
          <p:nvPr>
            <p:ph type="sldNum" sz="quarter" idx="5"/>
          </p:nvPr>
        </p:nvSpPr>
        <p:spPr/>
        <p:txBody>
          <a:bodyPr/>
          <a:lstStyle/>
          <a:p>
            <a:fld id="{1BA67B85-876F-4CB6-BED5-680CA9E302A8}" type="slidenum">
              <a:rPr lang="en-IN" smtClean="0"/>
              <a:t>7</a:t>
            </a:fld>
            <a:endParaRPr lang="en-IN"/>
          </a:p>
        </p:txBody>
      </p:sp>
    </p:spTree>
    <p:extLst>
      <p:ext uri="{BB962C8B-B14F-4D97-AF65-F5344CB8AC3E}">
        <p14:creationId xmlns:p14="http://schemas.microsoft.com/office/powerpoint/2010/main" val="33762074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about POC </a:t>
            </a:r>
          </a:p>
          <a:p>
            <a:endParaRPr lang="en-IN" dirty="0"/>
          </a:p>
        </p:txBody>
      </p:sp>
      <p:sp>
        <p:nvSpPr>
          <p:cNvPr id="4" name="Slide Number Placeholder 3"/>
          <p:cNvSpPr>
            <a:spLocks noGrp="1"/>
          </p:cNvSpPr>
          <p:nvPr>
            <p:ph type="sldNum" sz="quarter" idx="5"/>
          </p:nvPr>
        </p:nvSpPr>
        <p:spPr/>
        <p:txBody>
          <a:bodyPr/>
          <a:lstStyle/>
          <a:p>
            <a:fld id="{1BA67B85-876F-4CB6-BED5-680CA9E302A8}" type="slidenum">
              <a:rPr lang="en-IN" smtClean="0"/>
              <a:t>8</a:t>
            </a:fld>
            <a:endParaRPr lang="en-IN"/>
          </a:p>
        </p:txBody>
      </p:sp>
    </p:spTree>
    <p:extLst>
      <p:ext uri="{BB962C8B-B14F-4D97-AF65-F5344CB8AC3E}">
        <p14:creationId xmlns:p14="http://schemas.microsoft.com/office/powerpoint/2010/main" val="6453823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BA67B85-876F-4CB6-BED5-680CA9E302A8}" type="slidenum">
              <a:rPr lang="en-IN" smtClean="0"/>
              <a:t>9</a:t>
            </a:fld>
            <a:endParaRPr lang="en-IN"/>
          </a:p>
        </p:txBody>
      </p:sp>
    </p:spTree>
    <p:extLst>
      <p:ext uri="{BB962C8B-B14F-4D97-AF65-F5344CB8AC3E}">
        <p14:creationId xmlns:p14="http://schemas.microsoft.com/office/powerpoint/2010/main" val="12075236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s://www.geeksforgeeks.org/overview-of-big-bang-model/</a:t>
            </a:r>
          </a:p>
          <a:p>
            <a:endParaRPr lang="en-IN" dirty="0"/>
          </a:p>
          <a:p>
            <a:pPr algn="l" fontAlgn="base"/>
            <a:r>
              <a:rPr lang="en-US" b="0" i="0" dirty="0">
                <a:solidFill>
                  <a:srgbClr val="273239"/>
                </a:solidFill>
                <a:effectLst/>
                <a:latin typeface="urw-din"/>
              </a:rPr>
              <a:t>The product requirements are understood and implemented as they arrive. The complete modules or at least the part of the modules are integrated and tested. All the modules are run separately and the defective ones are removed to find the cause.  It is a suitable model where requirements are not well understood and the final release date is not given. In simple, it can be phased out in 3 points i.e.</a:t>
            </a:r>
          </a:p>
          <a:p>
            <a:pPr algn="l" fontAlgn="base">
              <a:buFont typeface="+mj-lt"/>
              <a:buAutoNum type="arabicPeriod"/>
            </a:pPr>
            <a:r>
              <a:rPr lang="en-US" b="0" i="0" dirty="0">
                <a:solidFill>
                  <a:srgbClr val="273239"/>
                </a:solidFill>
                <a:effectLst/>
                <a:latin typeface="urw-din"/>
              </a:rPr>
              <a:t>Integrate each individual’s modules to give a unique integrated overview</a:t>
            </a:r>
          </a:p>
          <a:p>
            <a:pPr algn="l" fontAlgn="base">
              <a:buFont typeface="+mj-lt"/>
              <a:buAutoNum type="arabicPeriod"/>
            </a:pPr>
            <a:r>
              <a:rPr lang="en-US" b="0" i="0" dirty="0">
                <a:solidFill>
                  <a:srgbClr val="273239"/>
                </a:solidFill>
                <a:effectLst/>
                <a:latin typeface="urw-din"/>
              </a:rPr>
              <a:t>Test each module separately to identify any error or defects</a:t>
            </a:r>
          </a:p>
          <a:p>
            <a:pPr algn="l" fontAlgn="base">
              <a:buFont typeface="+mj-lt"/>
              <a:buAutoNum type="arabicPeriod"/>
            </a:pPr>
            <a:r>
              <a:rPr lang="en-US" b="0" i="0" dirty="0">
                <a:solidFill>
                  <a:srgbClr val="273239"/>
                </a:solidFill>
                <a:effectLst/>
                <a:latin typeface="urw-din"/>
              </a:rPr>
              <a:t>If any error found then separate that module and identify the cause of the error</a:t>
            </a:r>
          </a:p>
          <a:p>
            <a:pPr algn="l" fontAlgn="base"/>
            <a:r>
              <a:rPr lang="en-US" b="1" i="0" dirty="0">
                <a:solidFill>
                  <a:srgbClr val="273239"/>
                </a:solidFill>
                <a:effectLst/>
                <a:latin typeface="urw-din"/>
              </a:rPr>
              <a:t>When to use it and where not to :</a:t>
            </a:r>
            <a:endParaRPr lang="en-US" b="0" i="0" dirty="0">
              <a:solidFill>
                <a:srgbClr val="273239"/>
              </a:solidFill>
              <a:effectLst/>
              <a:latin typeface="urw-din"/>
            </a:endParaRPr>
          </a:p>
          <a:p>
            <a:pPr algn="l" fontAlgn="base"/>
            <a:r>
              <a:rPr lang="en-US" b="0" i="0" dirty="0">
                <a:solidFill>
                  <a:srgbClr val="273239"/>
                </a:solidFill>
                <a:effectLst/>
                <a:latin typeface="urw-din"/>
              </a:rPr>
              <a:t>This SDLC model is suitable for small projects when few people are working on the project, the customer’s demands are not exact and keep changing, or if it is a dummy/side-project. As there is no proper planning in this model it is considered the worst SDLC model and is highly unsuitable for large projects.</a:t>
            </a:r>
          </a:p>
          <a:p>
            <a:pPr algn="l" fontAlgn="base"/>
            <a:r>
              <a:rPr lang="en-US" b="0" i="0" dirty="0">
                <a:solidFill>
                  <a:srgbClr val="273239"/>
                </a:solidFill>
                <a:effectLst/>
                <a:latin typeface="urw-din"/>
              </a:rPr>
              <a:t>It is recommended to go for the Big Bang model only due to the following cases i.e.</a:t>
            </a:r>
          </a:p>
          <a:p>
            <a:pPr algn="l" fontAlgn="base">
              <a:buFont typeface="+mj-lt"/>
              <a:buAutoNum type="arabicPeriod"/>
            </a:pPr>
            <a:r>
              <a:rPr lang="en-US" b="0" i="0" dirty="0">
                <a:solidFill>
                  <a:srgbClr val="273239"/>
                </a:solidFill>
                <a:effectLst/>
                <a:latin typeface="urw-din"/>
              </a:rPr>
              <a:t>Developing a project for learning purposes or experiment purposes.</a:t>
            </a:r>
          </a:p>
          <a:p>
            <a:pPr algn="l" fontAlgn="base">
              <a:buFont typeface="+mj-lt"/>
              <a:buAutoNum type="arabicPeriod"/>
            </a:pPr>
            <a:r>
              <a:rPr lang="en-US" b="0" i="0" dirty="0">
                <a:solidFill>
                  <a:srgbClr val="273239"/>
                </a:solidFill>
                <a:effectLst/>
                <a:latin typeface="urw-din"/>
              </a:rPr>
              <a:t>No clarity on the requirements from the user side.</a:t>
            </a:r>
          </a:p>
          <a:p>
            <a:pPr algn="l" fontAlgn="base">
              <a:buFont typeface="+mj-lt"/>
              <a:buAutoNum type="arabicPeriod"/>
            </a:pPr>
            <a:r>
              <a:rPr lang="en-US" b="0" i="0" dirty="0">
                <a:solidFill>
                  <a:srgbClr val="273239"/>
                </a:solidFill>
                <a:effectLst/>
                <a:latin typeface="urw-din"/>
              </a:rPr>
              <a:t>When newer requirements need to be implemented immediately.</a:t>
            </a:r>
          </a:p>
          <a:p>
            <a:pPr algn="l" fontAlgn="base">
              <a:buFont typeface="+mj-lt"/>
              <a:buAutoNum type="arabicPeriod"/>
            </a:pPr>
            <a:r>
              <a:rPr lang="en-US" b="0" i="0" dirty="0">
                <a:solidFill>
                  <a:srgbClr val="273239"/>
                </a:solidFill>
                <a:effectLst/>
                <a:latin typeface="urw-din"/>
              </a:rPr>
              <a:t>Changing requirements based on the current developing product outcome.</a:t>
            </a:r>
          </a:p>
          <a:p>
            <a:pPr algn="l" fontAlgn="base">
              <a:buFont typeface="+mj-lt"/>
              <a:buAutoNum type="arabicPeriod"/>
            </a:pPr>
            <a:r>
              <a:rPr lang="en-US" b="0" i="0" dirty="0">
                <a:solidFill>
                  <a:srgbClr val="273239"/>
                </a:solidFill>
                <a:effectLst/>
                <a:latin typeface="urw-din"/>
              </a:rPr>
              <a:t>No strict guideline on product release or delivery date.</a:t>
            </a:r>
          </a:p>
          <a:p>
            <a:pPr algn="l" fontAlgn="base"/>
            <a:r>
              <a:rPr lang="en-US" b="1" i="0" dirty="0">
                <a:solidFill>
                  <a:srgbClr val="273239"/>
                </a:solidFill>
                <a:effectLst/>
                <a:latin typeface="urw-din"/>
              </a:rPr>
              <a:t>Features of Big Bang Model :</a:t>
            </a:r>
            <a:endParaRPr lang="en-US" b="0" i="0" dirty="0">
              <a:solidFill>
                <a:srgbClr val="273239"/>
              </a:solidFill>
              <a:effectLst/>
              <a:latin typeface="urw-din"/>
            </a:endParaRPr>
          </a:p>
          <a:p>
            <a:pPr algn="l" fontAlgn="base">
              <a:buFont typeface="Arial" panose="020B0604020202020204" pitchFamily="34" charset="0"/>
              <a:buChar char="•"/>
            </a:pPr>
            <a:r>
              <a:rPr lang="en-US" b="0" i="0" dirty="0">
                <a:solidFill>
                  <a:srgbClr val="273239"/>
                </a:solidFill>
                <a:effectLst/>
                <a:latin typeface="urw-din"/>
              </a:rPr>
              <a:t>Not require a well-documented requirement specification</a:t>
            </a:r>
          </a:p>
          <a:p>
            <a:pPr algn="l" fontAlgn="base">
              <a:buFont typeface="Arial" panose="020B0604020202020204" pitchFamily="34" charset="0"/>
              <a:buChar char="•"/>
            </a:pPr>
            <a:r>
              <a:rPr lang="en-US" b="0" i="0" dirty="0">
                <a:solidFill>
                  <a:srgbClr val="273239"/>
                </a:solidFill>
                <a:effectLst/>
                <a:latin typeface="urw-din"/>
              </a:rPr>
              <a:t>Provides a quick overview of the prototype</a:t>
            </a:r>
          </a:p>
          <a:p>
            <a:pPr algn="l" fontAlgn="base">
              <a:buFont typeface="Arial" panose="020B0604020202020204" pitchFamily="34" charset="0"/>
              <a:buChar char="•"/>
            </a:pPr>
            <a:r>
              <a:rPr lang="en-US" b="0" i="0" dirty="0">
                <a:solidFill>
                  <a:srgbClr val="273239"/>
                </a:solidFill>
                <a:effectLst/>
                <a:latin typeface="urw-din"/>
              </a:rPr>
              <a:t>Needs little effort and the idea of implementation</a:t>
            </a:r>
          </a:p>
          <a:p>
            <a:pPr algn="l" fontAlgn="base">
              <a:buFont typeface="Arial" panose="020B0604020202020204" pitchFamily="34" charset="0"/>
              <a:buChar char="•"/>
            </a:pPr>
            <a:r>
              <a:rPr lang="en-US" b="0" i="0" dirty="0">
                <a:solidFill>
                  <a:srgbClr val="273239"/>
                </a:solidFill>
                <a:effectLst/>
                <a:latin typeface="urw-din"/>
              </a:rPr>
              <a:t>Allows merging of newer technologies to see the changes and adaptability</a:t>
            </a:r>
          </a:p>
          <a:p>
            <a:pPr algn="l" fontAlgn="base"/>
            <a:r>
              <a:rPr lang="en-US" b="1" i="0" dirty="0">
                <a:solidFill>
                  <a:srgbClr val="273239"/>
                </a:solidFill>
                <a:effectLst/>
                <a:latin typeface="urw-din"/>
              </a:rPr>
              <a:t>Pros of Big Bang Model :</a:t>
            </a:r>
            <a:endParaRPr lang="en-US" b="0" i="0" dirty="0">
              <a:solidFill>
                <a:srgbClr val="273239"/>
              </a:solidFill>
              <a:effectLst/>
              <a:latin typeface="urw-din"/>
            </a:endParaRPr>
          </a:p>
          <a:p>
            <a:pPr algn="l" fontAlgn="base">
              <a:buFont typeface="Arial" panose="020B0604020202020204" pitchFamily="34" charset="0"/>
              <a:buChar char="•"/>
            </a:pPr>
            <a:r>
              <a:rPr lang="en-US" b="0" i="0" dirty="0">
                <a:solidFill>
                  <a:srgbClr val="273239"/>
                </a:solidFill>
                <a:effectLst/>
                <a:latin typeface="urw-din"/>
              </a:rPr>
              <a:t>There is no planning required for this.</a:t>
            </a:r>
          </a:p>
          <a:p>
            <a:pPr algn="l" fontAlgn="base">
              <a:buFont typeface="Arial" panose="020B0604020202020204" pitchFamily="34" charset="0"/>
              <a:buChar char="•"/>
            </a:pPr>
            <a:r>
              <a:rPr lang="en-US" b="0" i="0" dirty="0">
                <a:solidFill>
                  <a:srgbClr val="273239"/>
                </a:solidFill>
                <a:effectLst/>
                <a:latin typeface="urw-din"/>
              </a:rPr>
              <a:t>Suitable for small projects</a:t>
            </a:r>
          </a:p>
          <a:p>
            <a:pPr algn="l" fontAlgn="base">
              <a:buFont typeface="Arial" panose="020B0604020202020204" pitchFamily="34" charset="0"/>
              <a:buChar char="•"/>
            </a:pPr>
            <a:r>
              <a:rPr lang="en-US" b="0" i="0" dirty="0">
                <a:solidFill>
                  <a:srgbClr val="273239"/>
                </a:solidFill>
                <a:effectLst/>
                <a:latin typeface="urw-din"/>
              </a:rPr>
              <a:t>Very few resources are required.</a:t>
            </a:r>
          </a:p>
          <a:p>
            <a:pPr algn="l" fontAlgn="base">
              <a:buFont typeface="Arial" panose="020B0604020202020204" pitchFamily="34" charset="0"/>
              <a:buChar char="•"/>
            </a:pPr>
            <a:r>
              <a:rPr lang="en-US" b="0" i="0" dirty="0">
                <a:solidFill>
                  <a:srgbClr val="273239"/>
                </a:solidFill>
                <a:effectLst/>
                <a:latin typeface="urw-din"/>
              </a:rPr>
              <a:t>As there is no proper planning hence it does not require managerial staffs</a:t>
            </a:r>
          </a:p>
          <a:p>
            <a:pPr algn="l" fontAlgn="base">
              <a:buFont typeface="Arial" panose="020B0604020202020204" pitchFamily="34" charset="0"/>
              <a:buChar char="•"/>
            </a:pPr>
            <a:r>
              <a:rPr lang="en-US" b="0" i="0" dirty="0">
                <a:solidFill>
                  <a:srgbClr val="273239"/>
                </a:solidFill>
                <a:effectLst/>
                <a:latin typeface="urw-din"/>
              </a:rPr>
              <a:t>Easy to implement</a:t>
            </a:r>
          </a:p>
          <a:p>
            <a:pPr algn="l" fontAlgn="base">
              <a:buFont typeface="Arial" panose="020B0604020202020204" pitchFamily="34" charset="0"/>
              <a:buChar char="•"/>
            </a:pPr>
            <a:r>
              <a:rPr lang="en-US" b="0" i="0" dirty="0">
                <a:solidFill>
                  <a:srgbClr val="273239"/>
                </a:solidFill>
                <a:effectLst/>
                <a:latin typeface="urw-din"/>
              </a:rPr>
              <a:t>It develops the skills of the newcomers</a:t>
            </a:r>
          </a:p>
          <a:p>
            <a:pPr algn="l" fontAlgn="base">
              <a:buFont typeface="Arial" panose="020B0604020202020204" pitchFamily="34" charset="0"/>
              <a:buChar char="•"/>
            </a:pPr>
            <a:r>
              <a:rPr lang="en-US" b="0" i="0" dirty="0">
                <a:solidFill>
                  <a:srgbClr val="273239"/>
                </a:solidFill>
                <a:effectLst/>
                <a:latin typeface="urw-din"/>
              </a:rPr>
              <a:t>Very much flexible for the developers working on it</a:t>
            </a:r>
          </a:p>
          <a:p>
            <a:pPr algn="l" fontAlgn="base"/>
            <a:r>
              <a:rPr lang="en-US" b="1" i="0" dirty="0">
                <a:solidFill>
                  <a:srgbClr val="273239"/>
                </a:solidFill>
                <a:effectLst/>
                <a:latin typeface="urw-din"/>
              </a:rPr>
              <a:t>Cons of Big Bang Model :</a:t>
            </a:r>
            <a:endParaRPr lang="en-US" b="0" i="0" dirty="0">
              <a:solidFill>
                <a:srgbClr val="273239"/>
              </a:solidFill>
              <a:effectLst/>
              <a:latin typeface="urw-din"/>
            </a:endParaRPr>
          </a:p>
          <a:p>
            <a:pPr algn="l" fontAlgn="base">
              <a:buFont typeface="Arial" panose="020B0604020202020204" pitchFamily="34" charset="0"/>
              <a:buChar char="•"/>
            </a:pPr>
            <a:r>
              <a:rPr lang="en-US" b="0" i="0" dirty="0">
                <a:solidFill>
                  <a:srgbClr val="273239"/>
                </a:solidFill>
                <a:effectLst/>
                <a:latin typeface="urw-din"/>
              </a:rPr>
              <a:t>Not suitable for large projects.</a:t>
            </a:r>
          </a:p>
          <a:p>
            <a:pPr algn="l" fontAlgn="base">
              <a:buFont typeface="Arial" panose="020B0604020202020204" pitchFamily="34" charset="0"/>
              <a:buChar char="•"/>
            </a:pPr>
            <a:r>
              <a:rPr lang="en-US" b="0" i="0" dirty="0">
                <a:solidFill>
                  <a:srgbClr val="273239"/>
                </a:solidFill>
                <a:effectLst/>
                <a:latin typeface="urw-din"/>
              </a:rPr>
              <a:t>Highly risky model and uncertain</a:t>
            </a:r>
          </a:p>
          <a:p>
            <a:pPr algn="l" fontAlgn="base">
              <a:buFont typeface="Arial" panose="020B0604020202020204" pitchFamily="34" charset="0"/>
              <a:buChar char="•"/>
            </a:pPr>
            <a:r>
              <a:rPr lang="en-US" b="0" i="0" dirty="0">
                <a:solidFill>
                  <a:srgbClr val="273239"/>
                </a:solidFill>
                <a:effectLst/>
                <a:latin typeface="urw-din"/>
              </a:rPr>
              <a:t>Might be expensive if requirements are not clear</a:t>
            </a:r>
          </a:p>
          <a:p>
            <a:pPr algn="l" fontAlgn="base">
              <a:buFont typeface="Arial" panose="020B0604020202020204" pitchFamily="34" charset="0"/>
              <a:buChar char="•"/>
            </a:pPr>
            <a:r>
              <a:rPr lang="en-US" b="0" i="0" dirty="0">
                <a:solidFill>
                  <a:srgbClr val="273239"/>
                </a:solidFill>
                <a:effectLst/>
                <a:latin typeface="urw-din"/>
              </a:rPr>
              <a:t>Poor model for ongoing projects</a:t>
            </a:r>
          </a:p>
          <a:p>
            <a:pPr algn="l" fontAlgn="base"/>
            <a:r>
              <a:rPr lang="en-US" b="1" i="0" dirty="0">
                <a:solidFill>
                  <a:srgbClr val="273239"/>
                </a:solidFill>
                <a:effectLst/>
                <a:latin typeface="urw-din"/>
              </a:rPr>
              <a:t>Conclusion :</a:t>
            </a:r>
            <a:endParaRPr lang="en-US" b="0" i="0" dirty="0">
              <a:solidFill>
                <a:srgbClr val="273239"/>
              </a:solidFill>
              <a:effectLst/>
              <a:latin typeface="urw-din"/>
            </a:endParaRPr>
          </a:p>
          <a:p>
            <a:pPr algn="l" fontAlgn="base"/>
            <a:r>
              <a:rPr lang="en-US" b="0" i="0" dirty="0">
                <a:solidFill>
                  <a:srgbClr val="273239"/>
                </a:solidFill>
                <a:effectLst/>
                <a:latin typeface="urw-din"/>
              </a:rPr>
              <a:t>The big bang model is a very simple SDLC model that is suitable for small projects for learning or a side project without much planning. It is too simple, but it is risky for large projects involving lots of complicated and would require the involved people to be well-trained in the technology on which the project is based.</a:t>
            </a:r>
          </a:p>
          <a:p>
            <a:endParaRPr lang="en-IN" dirty="0"/>
          </a:p>
        </p:txBody>
      </p:sp>
      <p:sp>
        <p:nvSpPr>
          <p:cNvPr id="4" name="Slide Number Placeholder 3"/>
          <p:cNvSpPr>
            <a:spLocks noGrp="1"/>
          </p:cNvSpPr>
          <p:nvPr>
            <p:ph type="sldNum" sz="quarter" idx="5"/>
          </p:nvPr>
        </p:nvSpPr>
        <p:spPr/>
        <p:txBody>
          <a:bodyPr/>
          <a:lstStyle/>
          <a:p>
            <a:fld id="{1BA67B85-876F-4CB6-BED5-680CA9E302A8}" type="slidenum">
              <a:rPr lang="en-IN" smtClean="0"/>
              <a:t>10</a:t>
            </a:fld>
            <a:endParaRPr lang="en-IN"/>
          </a:p>
        </p:txBody>
      </p:sp>
    </p:spTree>
    <p:extLst>
      <p:ext uri="{BB962C8B-B14F-4D97-AF65-F5344CB8AC3E}">
        <p14:creationId xmlns:p14="http://schemas.microsoft.com/office/powerpoint/2010/main" val="37052297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22222"/>
                </a:solidFill>
                <a:effectLst/>
                <a:latin typeface="halyard-display"/>
              </a:rPr>
              <a:t>Ideal scenarios for Iterative Development</a:t>
            </a:r>
          </a:p>
          <a:p>
            <a:pPr algn="l"/>
            <a:r>
              <a:rPr lang="en-US" b="0" i="0" dirty="0">
                <a:solidFill>
                  <a:srgbClr val="222222"/>
                </a:solidFill>
                <a:effectLst/>
                <a:latin typeface="open-sans"/>
              </a:rPr>
              <a:t>There are some scenarios that are particularly well suited to this type of development:</a:t>
            </a:r>
          </a:p>
          <a:p>
            <a:pPr algn="l">
              <a:buFont typeface="Arial" panose="020B0604020202020204" pitchFamily="34" charset="0"/>
              <a:buChar char="•"/>
            </a:pPr>
            <a:r>
              <a:rPr lang="en-US" b="0" i="0" dirty="0">
                <a:solidFill>
                  <a:srgbClr val="222222"/>
                </a:solidFill>
                <a:effectLst/>
                <a:latin typeface="open-sans"/>
              </a:rPr>
              <a:t>Clear, comprehensive requirements have been defined</a:t>
            </a:r>
          </a:p>
          <a:p>
            <a:pPr algn="l">
              <a:buFont typeface="Arial" panose="020B0604020202020204" pitchFamily="34" charset="0"/>
              <a:buChar char="•"/>
            </a:pPr>
            <a:r>
              <a:rPr lang="en-US" b="0" i="0" dirty="0">
                <a:solidFill>
                  <a:srgbClr val="222222"/>
                </a:solidFill>
                <a:effectLst/>
                <a:latin typeface="open-sans"/>
              </a:rPr>
              <a:t>Major requirements are defined at the onset, but some functionality may evolve over time in collaboration with the client</a:t>
            </a:r>
          </a:p>
          <a:p>
            <a:pPr algn="l">
              <a:buFont typeface="Arial" panose="020B0604020202020204" pitchFamily="34" charset="0"/>
              <a:buChar char="•"/>
            </a:pPr>
            <a:r>
              <a:rPr lang="en-US" b="0" i="0" dirty="0">
                <a:solidFill>
                  <a:srgbClr val="222222"/>
                </a:solidFill>
                <a:effectLst/>
                <a:latin typeface="open-sans"/>
              </a:rPr>
              <a:t>Time-to-market is a constraining element in the project</a:t>
            </a:r>
          </a:p>
          <a:p>
            <a:pPr algn="l">
              <a:buFont typeface="Arial" panose="020B0604020202020204" pitchFamily="34" charset="0"/>
              <a:buChar char="•"/>
            </a:pPr>
            <a:r>
              <a:rPr lang="en-US" b="0" i="0" dirty="0">
                <a:solidFill>
                  <a:srgbClr val="222222"/>
                </a:solidFill>
                <a:effectLst/>
                <a:latin typeface="open-sans"/>
              </a:rPr>
              <a:t>Innovative technology is involved – and being learnt by the development team as they work</a:t>
            </a:r>
          </a:p>
          <a:p>
            <a:pPr algn="l">
              <a:buFont typeface="Arial" panose="020B0604020202020204" pitchFamily="34" charset="0"/>
              <a:buChar char="•"/>
            </a:pPr>
            <a:r>
              <a:rPr lang="en-US" b="0" i="0" dirty="0">
                <a:solidFill>
                  <a:srgbClr val="222222"/>
                </a:solidFill>
                <a:effectLst/>
                <a:latin typeface="open-sans"/>
              </a:rPr>
              <a:t>Goals are subject to change over time</a:t>
            </a:r>
          </a:p>
          <a:p>
            <a:endParaRPr lang="en-IN" dirty="0"/>
          </a:p>
        </p:txBody>
      </p:sp>
      <p:sp>
        <p:nvSpPr>
          <p:cNvPr id="4" name="Slide Number Placeholder 3"/>
          <p:cNvSpPr>
            <a:spLocks noGrp="1"/>
          </p:cNvSpPr>
          <p:nvPr>
            <p:ph type="sldNum" sz="quarter" idx="5"/>
          </p:nvPr>
        </p:nvSpPr>
        <p:spPr/>
        <p:txBody>
          <a:bodyPr/>
          <a:lstStyle/>
          <a:p>
            <a:fld id="{1BA67B85-876F-4CB6-BED5-680CA9E302A8}" type="slidenum">
              <a:rPr lang="en-IN" smtClean="0"/>
              <a:t>11</a:t>
            </a:fld>
            <a:endParaRPr lang="en-IN"/>
          </a:p>
        </p:txBody>
      </p:sp>
    </p:spTree>
    <p:extLst>
      <p:ext uri="{BB962C8B-B14F-4D97-AF65-F5344CB8AC3E}">
        <p14:creationId xmlns:p14="http://schemas.microsoft.com/office/powerpoint/2010/main" val="39373576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BA67B85-876F-4CB6-BED5-680CA9E302A8}" type="slidenum">
              <a:rPr lang="en-IN" smtClean="0"/>
              <a:t>12</a:t>
            </a:fld>
            <a:endParaRPr lang="en-IN"/>
          </a:p>
        </p:txBody>
      </p:sp>
    </p:spTree>
    <p:extLst>
      <p:ext uri="{BB962C8B-B14F-4D97-AF65-F5344CB8AC3E}">
        <p14:creationId xmlns:p14="http://schemas.microsoft.com/office/powerpoint/2010/main" val="612844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BA67B85-876F-4CB6-BED5-680CA9E302A8}" type="slidenum">
              <a:rPr lang="en-IN" smtClean="0"/>
              <a:t>13</a:t>
            </a:fld>
            <a:endParaRPr lang="en-IN"/>
          </a:p>
        </p:txBody>
      </p:sp>
    </p:spTree>
    <p:extLst>
      <p:ext uri="{BB962C8B-B14F-4D97-AF65-F5344CB8AC3E}">
        <p14:creationId xmlns:p14="http://schemas.microsoft.com/office/powerpoint/2010/main" val="3464503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222222"/>
                </a:solidFill>
                <a:effectLst/>
                <a:latin typeface="Source Sans Pro" panose="020B0503030403020204" pitchFamily="34" charset="0"/>
              </a:rPr>
              <a:t>When to use Spiral Model?</a:t>
            </a:r>
          </a:p>
          <a:p>
            <a:pPr algn="l">
              <a:buFont typeface="Arial" panose="020B0604020202020204" pitchFamily="34" charset="0"/>
              <a:buChar char="•"/>
            </a:pPr>
            <a:r>
              <a:rPr lang="en-US" b="0" i="0" dirty="0">
                <a:solidFill>
                  <a:srgbClr val="222222"/>
                </a:solidFill>
                <a:effectLst/>
                <a:latin typeface="Source Sans Pro" panose="020B0503030403020204" pitchFamily="34" charset="0"/>
              </a:rPr>
              <a:t>A Spiral model in software engineering is used when project is large</a:t>
            </a:r>
          </a:p>
          <a:p>
            <a:pPr algn="l">
              <a:buFont typeface="Arial" panose="020B0604020202020204" pitchFamily="34" charset="0"/>
              <a:buChar char="•"/>
            </a:pPr>
            <a:r>
              <a:rPr lang="en-US" b="0" i="0" dirty="0">
                <a:solidFill>
                  <a:srgbClr val="222222"/>
                </a:solidFill>
                <a:effectLst/>
                <a:latin typeface="Source Sans Pro" panose="020B0503030403020204" pitchFamily="34" charset="0"/>
              </a:rPr>
              <a:t>When releases are required to be frequent, spiral methodology is used</a:t>
            </a:r>
          </a:p>
          <a:p>
            <a:pPr algn="l">
              <a:buFont typeface="Arial" panose="020B0604020202020204" pitchFamily="34" charset="0"/>
              <a:buChar char="•"/>
            </a:pPr>
            <a:r>
              <a:rPr lang="en-US" b="0" i="0" dirty="0">
                <a:solidFill>
                  <a:srgbClr val="222222"/>
                </a:solidFill>
                <a:effectLst/>
                <a:latin typeface="Source Sans Pro" panose="020B0503030403020204" pitchFamily="34" charset="0"/>
              </a:rPr>
              <a:t>When creation of a prototype is applicable</a:t>
            </a:r>
          </a:p>
          <a:p>
            <a:pPr algn="l">
              <a:buFont typeface="Arial" panose="020B0604020202020204" pitchFamily="34" charset="0"/>
              <a:buChar char="•"/>
            </a:pPr>
            <a:r>
              <a:rPr lang="en-US" b="0" i="0" dirty="0">
                <a:solidFill>
                  <a:srgbClr val="222222"/>
                </a:solidFill>
                <a:effectLst/>
                <a:latin typeface="Source Sans Pro" panose="020B0503030403020204" pitchFamily="34" charset="0"/>
              </a:rPr>
              <a:t>When risk and costs evaluation is important</a:t>
            </a:r>
          </a:p>
          <a:p>
            <a:pPr algn="l">
              <a:buFont typeface="Arial" panose="020B0604020202020204" pitchFamily="34" charset="0"/>
              <a:buChar char="•"/>
            </a:pPr>
            <a:r>
              <a:rPr lang="en-US" b="0" i="0" dirty="0">
                <a:solidFill>
                  <a:srgbClr val="222222"/>
                </a:solidFill>
                <a:effectLst/>
                <a:latin typeface="Source Sans Pro" panose="020B0503030403020204" pitchFamily="34" charset="0"/>
              </a:rPr>
              <a:t>Spiral methodology is useful for medium to high-risk projects</a:t>
            </a:r>
          </a:p>
          <a:p>
            <a:pPr algn="l">
              <a:buFont typeface="Arial" panose="020B0604020202020204" pitchFamily="34" charset="0"/>
              <a:buChar char="•"/>
            </a:pPr>
            <a:r>
              <a:rPr lang="en-US" b="0" i="0" dirty="0">
                <a:solidFill>
                  <a:srgbClr val="222222"/>
                </a:solidFill>
                <a:effectLst/>
                <a:latin typeface="Source Sans Pro" panose="020B0503030403020204" pitchFamily="34" charset="0"/>
              </a:rPr>
              <a:t>When requirements are unclear and complex, Spiral model in SDLC is useful</a:t>
            </a:r>
          </a:p>
          <a:p>
            <a:pPr algn="l">
              <a:buFont typeface="Arial" panose="020B0604020202020204" pitchFamily="34" charset="0"/>
              <a:buChar char="•"/>
            </a:pPr>
            <a:r>
              <a:rPr lang="en-US" b="0" i="0" dirty="0">
                <a:solidFill>
                  <a:srgbClr val="222222"/>
                </a:solidFill>
                <a:effectLst/>
                <a:latin typeface="Source Sans Pro" panose="020B0503030403020204" pitchFamily="34" charset="0"/>
              </a:rPr>
              <a:t>When changes may require at any time</a:t>
            </a:r>
          </a:p>
          <a:p>
            <a:pPr algn="l">
              <a:buFont typeface="Arial" panose="020B0604020202020204" pitchFamily="34" charset="0"/>
              <a:buChar char="•"/>
            </a:pPr>
            <a:r>
              <a:rPr lang="en-US" b="0" i="0" dirty="0">
                <a:solidFill>
                  <a:srgbClr val="222222"/>
                </a:solidFill>
                <a:effectLst/>
                <a:latin typeface="Source Sans Pro" panose="020B0503030403020204" pitchFamily="34" charset="0"/>
              </a:rPr>
              <a:t>When long term project commitment is not feasible due to changes in economic priorities</a:t>
            </a:r>
          </a:p>
          <a:p>
            <a:endParaRPr lang="en-US" dirty="0"/>
          </a:p>
          <a:p>
            <a:endParaRPr lang="en-US" dirty="0"/>
          </a:p>
          <a:p>
            <a:r>
              <a:rPr lang="en-US" dirty="0"/>
              <a:t>Pros:</a:t>
            </a:r>
          </a:p>
          <a:p>
            <a:r>
              <a:rPr lang="en-US" dirty="0"/>
              <a:t>Flexibility allows incorporation of future chang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22222"/>
                </a:solidFill>
                <a:effectLst/>
                <a:latin typeface="Source Sans Pro" panose="020B0503030403020204" pitchFamily="34" charset="0"/>
              </a:rPr>
              <a:t>Continuous or repeated development helps in risk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22222"/>
                </a:solidFill>
                <a:effectLst/>
                <a:latin typeface="Source Sans Pro" panose="020B0503030403020204" pitchFamily="34" charset="0"/>
              </a:rPr>
              <a:t>Development is fast and features are added in a systematic way in Spiral development</a:t>
            </a:r>
          </a:p>
          <a:p>
            <a:endParaRPr lang="en-US" dirty="0"/>
          </a:p>
          <a:p>
            <a:endParaRPr lang="en-US" dirty="0"/>
          </a:p>
          <a:p>
            <a:r>
              <a:rPr lang="en-US" dirty="0"/>
              <a:t>C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22222"/>
                </a:solidFill>
                <a:effectLst/>
                <a:latin typeface="Source Sans Pro" panose="020B0503030403020204" pitchFamily="34" charset="0"/>
              </a:rPr>
              <a:t>Documentation is more as it has intermediate phases</a:t>
            </a:r>
          </a:p>
          <a:p>
            <a:r>
              <a:rPr lang="en-US" b="0" i="0" dirty="0">
                <a:solidFill>
                  <a:srgbClr val="222222"/>
                </a:solidFill>
                <a:effectLst/>
                <a:latin typeface="Source Sans Pro" panose="020B0503030403020204" pitchFamily="34" charset="0"/>
              </a:rPr>
              <a:t>not advisable for smaller project, it might cost them a lot</a:t>
            </a:r>
            <a:endParaRPr lang="en-IN" dirty="0"/>
          </a:p>
        </p:txBody>
      </p:sp>
      <p:sp>
        <p:nvSpPr>
          <p:cNvPr id="4" name="Slide Number Placeholder 3"/>
          <p:cNvSpPr>
            <a:spLocks noGrp="1"/>
          </p:cNvSpPr>
          <p:nvPr>
            <p:ph type="sldNum" sz="quarter" idx="5"/>
          </p:nvPr>
        </p:nvSpPr>
        <p:spPr/>
        <p:txBody>
          <a:bodyPr/>
          <a:lstStyle/>
          <a:p>
            <a:fld id="{1BA67B85-876F-4CB6-BED5-680CA9E302A8}" type="slidenum">
              <a:rPr lang="en-IN" smtClean="0"/>
              <a:t>14</a:t>
            </a:fld>
            <a:endParaRPr lang="en-IN"/>
          </a:p>
        </p:txBody>
      </p:sp>
    </p:spTree>
    <p:extLst>
      <p:ext uri="{BB962C8B-B14F-4D97-AF65-F5344CB8AC3E}">
        <p14:creationId xmlns:p14="http://schemas.microsoft.com/office/powerpoint/2010/main" val="24517436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281F56-65CF-417D-A7BC-C9E2FAE5935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6A9995A9-2CF6-4A71-BB16-A85AD1CF72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51692ABE-5CEA-4A33-946C-0D21A648517C}"/>
              </a:ext>
            </a:extLst>
          </p:cNvPr>
          <p:cNvSpPr>
            <a:spLocks noGrp="1"/>
          </p:cNvSpPr>
          <p:nvPr>
            <p:ph type="dt" sz="half" idx="10"/>
          </p:nvPr>
        </p:nvSpPr>
        <p:spPr/>
        <p:txBody>
          <a:bodyPr/>
          <a:lstStyle/>
          <a:p>
            <a:fld id="{891B4233-F338-4C4F-9D89-D7D648A900B7}" type="datetimeFigureOut">
              <a:rPr lang="en-IN" smtClean="0"/>
              <a:t>06-07-2022</a:t>
            </a:fld>
            <a:endParaRPr lang="en-IN"/>
          </a:p>
        </p:txBody>
      </p:sp>
      <p:sp>
        <p:nvSpPr>
          <p:cNvPr id="5" name="Footer Placeholder 4">
            <a:extLst>
              <a:ext uri="{FF2B5EF4-FFF2-40B4-BE49-F238E27FC236}">
                <a16:creationId xmlns:a16="http://schemas.microsoft.com/office/drawing/2014/main" id="{2ACC7947-2626-479B-A5B7-516C1C600F61}"/>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00055AF-AA58-4B2E-B4EE-8B1ED6FA2D05}"/>
              </a:ext>
            </a:extLst>
          </p:cNvPr>
          <p:cNvSpPr>
            <a:spLocks noGrp="1"/>
          </p:cNvSpPr>
          <p:nvPr>
            <p:ph type="sldNum" sz="quarter" idx="12"/>
          </p:nvPr>
        </p:nvSpPr>
        <p:spPr/>
        <p:txBody>
          <a:bodyPr/>
          <a:lstStyle/>
          <a:p>
            <a:fld id="{73872D22-2D97-41DF-90FB-F86FE1C2A137}" type="slidenum">
              <a:rPr lang="en-IN" smtClean="0"/>
              <a:t>‹#›</a:t>
            </a:fld>
            <a:endParaRPr lang="en-IN"/>
          </a:p>
        </p:txBody>
      </p:sp>
    </p:spTree>
    <p:extLst>
      <p:ext uri="{BB962C8B-B14F-4D97-AF65-F5344CB8AC3E}">
        <p14:creationId xmlns:p14="http://schemas.microsoft.com/office/powerpoint/2010/main" val="23909478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01D857-93C6-45A0-96D2-70D70C7AB7A0}"/>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9EA6363F-1C1D-40CE-B768-1E5BDAEDB7A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CB767233-4FD4-4F5C-BCA5-D441E62ED611}"/>
              </a:ext>
            </a:extLst>
          </p:cNvPr>
          <p:cNvSpPr>
            <a:spLocks noGrp="1"/>
          </p:cNvSpPr>
          <p:nvPr>
            <p:ph type="dt" sz="half" idx="10"/>
          </p:nvPr>
        </p:nvSpPr>
        <p:spPr/>
        <p:txBody>
          <a:bodyPr/>
          <a:lstStyle/>
          <a:p>
            <a:fld id="{891B4233-F338-4C4F-9D89-D7D648A900B7}" type="datetimeFigureOut">
              <a:rPr lang="en-IN" smtClean="0"/>
              <a:t>06-07-2022</a:t>
            </a:fld>
            <a:endParaRPr lang="en-IN"/>
          </a:p>
        </p:txBody>
      </p:sp>
      <p:sp>
        <p:nvSpPr>
          <p:cNvPr id="5" name="Footer Placeholder 4">
            <a:extLst>
              <a:ext uri="{FF2B5EF4-FFF2-40B4-BE49-F238E27FC236}">
                <a16:creationId xmlns:a16="http://schemas.microsoft.com/office/drawing/2014/main" id="{29747864-F5B8-4A96-9668-6157E8CEC82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AB003772-6717-40FA-8616-45CB0F8BD8B7}"/>
              </a:ext>
            </a:extLst>
          </p:cNvPr>
          <p:cNvSpPr>
            <a:spLocks noGrp="1"/>
          </p:cNvSpPr>
          <p:nvPr>
            <p:ph type="sldNum" sz="quarter" idx="12"/>
          </p:nvPr>
        </p:nvSpPr>
        <p:spPr/>
        <p:txBody>
          <a:bodyPr/>
          <a:lstStyle/>
          <a:p>
            <a:fld id="{73872D22-2D97-41DF-90FB-F86FE1C2A137}" type="slidenum">
              <a:rPr lang="en-IN" smtClean="0"/>
              <a:t>‹#›</a:t>
            </a:fld>
            <a:endParaRPr lang="en-IN"/>
          </a:p>
        </p:txBody>
      </p:sp>
    </p:spTree>
    <p:extLst>
      <p:ext uri="{BB962C8B-B14F-4D97-AF65-F5344CB8AC3E}">
        <p14:creationId xmlns:p14="http://schemas.microsoft.com/office/powerpoint/2010/main" val="35839982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54D4A73-0635-443D-BE02-56C5A56209E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33911DB0-41D6-4D40-9EB1-E094D73E3B7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FAFDAA1C-9D92-43D4-B3DB-DBF7CC4FAD9C}"/>
              </a:ext>
            </a:extLst>
          </p:cNvPr>
          <p:cNvSpPr>
            <a:spLocks noGrp="1"/>
          </p:cNvSpPr>
          <p:nvPr>
            <p:ph type="dt" sz="half" idx="10"/>
          </p:nvPr>
        </p:nvSpPr>
        <p:spPr/>
        <p:txBody>
          <a:bodyPr/>
          <a:lstStyle/>
          <a:p>
            <a:fld id="{891B4233-F338-4C4F-9D89-D7D648A900B7}" type="datetimeFigureOut">
              <a:rPr lang="en-IN" smtClean="0"/>
              <a:t>06-07-2022</a:t>
            </a:fld>
            <a:endParaRPr lang="en-IN"/>
          </a:p>
        </p:txBody>
      </p:sp>
      <p:sp>
        <p:nvSpPr>
          <p:cNvPr id="5" name="Footer Placeholder 4">
            <a:extLst>
              <a:ext uri="{FF2B5EF4-FFF2-40B4-BE49-F238E27FC236}">
                <a16:creationId xmlns:a16="http://schemas.microsoft.com/office/drawing/2014/main" id="{BAEF65A6-7358-44A2-AEEF-156C30E31205}"/>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A6042C28-63BB-4DAA-A26F-F7C1ECEA007D}"/>
              </a:ext>
            </a:extLst>
          </p:cNvPr>
          <p:cNvSpPr>
            <a:spLocks noGrp="1"/>
          </p:cNvSpPr>
          <p:nvPr>
            <p:ph type="sldNum" sz="quarter" idx="12"/>
          </p:nvPr>
        </p:nvSpPr>
        <p:spPr/>
        <p:txBody>
          <a:bodyPr/>
          <a:lstStyle/>
          <a:p>
            <a:fld id="{73872D22-2D97-41DF-90FB-F86FE1C2A137}" type="slidenum">
              <a:rPr lang="en-IN" smtClean="0"/>
              <a:t>‹#›</a:t>
            </a:fld>
            <a:endParaRPr lang="en-IN"/>
          </a:p>
        </p:txBody>
      </p:sp>
    </p:spTree>
    <p:extLst>
      <p:ext uri="{BB962C8B-B14F-4D97-AF65-F5344CB8AC3E}">
        <p14:creationId xmlns:p14="http://schemas.microsoft.com/office/powerpoint/2010/main" val="10071442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Plain">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969264" y="173736"/>
            <a:ext cx="10232136" cy="841248"/>
          </a:xfrm>
        </p:spPr>
        <p:txBody>
          <a:bodyPr>
            <a:normAutofit/>
          </a:bodyPr>
          <a:lstStyle>
            <a:lvl1pPr>
              <a:defRPr sz="3200" b="1">
                <a:latin typeface="+mn-lt"/>
              </a:defRPr>
            </a:lvl1pPr>
          </a:lstStyle>
          <a:p>
            <a:r>
              <a:rPr lang="en-US" dirty="0"/>
              <a:t>Title Slide</a:t>
            </a:r>
          </a:p>
        </p:txBody>
      </p:sp>
      <p:sp>
        <p:nvSpPr>
          <p:cNvPr id="13" name="Slide Number Placeholder 12"/>
          <p:cNvSpPr>
            <a:spLocks noGrp="1"/>
          </p:cNvSpPr>
          <p:nvPr>
            <p:ph type="sldNum" sz="quarter" idx="12"/>
          </p:nvPr>
        </p:nvSpPr>
        <p:spPr>
          <a:xfrm>
            <a:off x="1" y="6492875"/>
            <a:ext cx="436098" cy="365125"/>
          </a:xfrm>
        </p:spPr>
        <p:txBody>
          <a:bodyPr/>
          <a:lstStyle>
            <a:lvl1pPr algn="ctr">
              <a:defRPr sz="1000">
                <a:solidFill>
                  <a:schemeClr val="tx1"/>
                </a:solidFill>
              </a:defRPr>
            </a:lvl1pPr>
          </a:lstStyle>
          <a:p>
            <a:fld id="{D98F0396-9C7D-468F-908F-2B2A0639C2C2}" type="slidenum">
              <a:rPr lang="en-GB" smtClean="0"/>
              <a:pPr/>
              <a:t>‹#›</a:t>
            </a:fld>
            <a:endParaRPr lang="en-GB" dirty="0"/>
          </a:p>
        </p:txBody>
      </p:sp>
    </p:spTree>
    <p:extLst>
      <p:ext uri="{BB962C8B-B14F-4D97-AF65-F5344CB8AC3E}">
        <p14:creationId xmlns:p14="http://schemas.microsoft.com/office/powerpoint/2010/main" val="17332654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Tex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990600" y="1333500"/>
            <a:ext cx="10287000" cy="5086350"/>
          </a:xfrm>
        </p:spPr>
        <p:txBody>
          <a:bodyPr/>
          <a:lstStyle>
            <a:lvl1pPr>
              <a:defRPr sz="2000"/>
            </a:lvl1pPr>
            <a:lvl2pPr>
              <a:defRPr sz="1800"/>
            </a:lvl2pPr>
            <a:lvl3pPr>
              <a:defRPr sz="1600"/>
            </a:lvl3pPr>
            <a:lvl4pPr>
              <a:defRPr sz="16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a:xfrm>
            <a:off x="969264" y="173736"/>
            <a:ext cx="10232136" cy="841248"/>
          </a:xfrm>
        </p:spPr>
        <p:txBody>
          <a:bodyPr>
            <a:normAutofit/>
          </a:bodyPr>
          <a:lstStyle>
            <a:lvl1pPr>
              <a:defRPr sz="3200" b="1" baseline="0">
                <a:latin typeface="+mn-lt"/>
              </a:defRPr>
            </a:lvl1pPr>
          </a:lstStyle>
          <a:p>
            <a:r>
              <a:rPr lang="en-US" dirty="0"/>
              <a:t>Title Slide</a:t>
            </a:r>
          </a:p>
        </p:txBody>
      </p:sp>
      <p:sp>
        <p:nvSpPr>
          <p:cNvPr id="13" name="Slide Number Placeholder 12"/>
          <p:cNvSpPr>
            <a:spLocks noGrp="1"/>
          </p:cNvSpPr>
          <p:nvPr>
            <p:ph type="sldNum" sz="quarter" idx="12"/>
          </p:nvPr>
        </p:nvSpPr>
        <p:spPr>
          <a:xfrm>
            <a:off x="1" y="6492875"/>
            <a:ext cx="436098" cy="365125"/>
          </a:xfrm>
        </p:spPr>
        <p:txBody>
          <a:bodyPr/>
          <a:lstStyle>
            <a:lvl1pPr algn="ctr">
              <a:defRPr sz="1000">
                <a:solidFill>
                  <a:schemeClr val="tx1"/>
                </a:solidFill>
              </a:defRPr>
            </a:lvl1pPr>
          </a:lstStyle>
          <a:p>
            <a:fld id="{D98F0396-9C7D-468F-908F-2B2A0639C2C2}" type="slidenum">
              <a:rPr lang="en-GB" smtClean="0"/>
              <a:pPr/>
              <a:t>‹#›</a:t>
            </a:fld>
            <a:endParaRPr lang="en-GB" dirty="0"/>
          </a:p>
        </p:txBody>
      </p:sp>
    </p:spTree>
    <p:extLst>
      <p:ext uri="{BB962C8B-B14F-4D97-AF65-F5344CB8AC3E}">
        <p14:creationId xmlns:p14="http://schemas.microsoft.com/office/powerpoint/2010/main" val="21850271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5B5FE-E70C-4A7D-80A3-340D2444F504}"/>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27B1C3C4-590D-4A87-99BB-F563C972D82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B6572273-C414-4FC1-85F4-7B05B56FF13E}"/>
              </a:ext>
            </a:extLst>
          </p:cNvPr>
          <p:cNvSpPr>
            <a:spLocks noGrp="1"/>
          </p:cNvSpPr>
          <p:nvPr>
            <p:ph type="dt" sz="half" idx="10"/>
          </p:nvPr>
        </p:nvSpPr>
        <p:spPr/>
        <p:txBody>
          <a:bodyPr/>
          <a:lstStyle/>
          <a:p>
            <a:fld id="{891B4233-F338-4C4F-9D89-D7D648A900B7}" type="datetimeFigureOut">
              <a:rPr lang="en-IN" smtClean="0"/>
              <a:t>06-07-2022</a:t>
            </a:fld>
            <a:endParaRPr lang="en-IN"/>
          </a:p>
        </p:txBody>
      </p:sp>
      <p:sp>
        <p:nvSpPr>
          <p:cNvPr id="5" name="Footer Placeholder 4">
            <a:extLst>
              <a:ext uri="{FF2B5EF4-FFF2-40B4-BE49-F238E27FC236}">
                <a16:creationId xmlns:a16="http://schemas.microsoft.com/office/drawing/2014/main" id="{B9B9147A-AA92-4C4E-9BB8-ED4E4DBB6644}"/>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A9E07A3-003D-437F-B014-D782EEE769B3}"/>
              </a:ext>
            </a:extLst>
          </p:cNvPr>
          <p:cNvSpPr>
            <a:spLocks noGrp="1"/>
          </p:cNvSpPr>
          <p:nvPr>
            <p:ph type="sldNum" sz="quarter" idx="12"/>
          </p:nvPr>
        </p:nvSpPr>
        <p:spPr/>
        <p:txBody>
          <a:bodyPr/>
          <a:lstStyle/>
          <a:p>
            <a:fld id="{73872D22-2D97-41DF-90FB-F86FE1C2A137}" type="slidenum">
              <a:rPr lang="en-IN" smtClean="0"/>
              <a:t>‹#›</a:t>
            </a:fld>
            <a:endParaRPr lang="en-IN"/>
          </a:p>
        </p:txBody>
      </p:sp>
    </p:spTree>
    <p:extLst>
      <p:ext uri="{BB962C8B-B14F-4D97-AF65-F5344CB8AC3E}">
        <p14:creationId xmlns:p14="http://schemas.microsoft.com/office/powerpoint/2010/main" val="23265333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5059AB-8C68-4A54-8873-CA56E5A44CD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43A14C28-DD69-4820-BC4D-60F80179E50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7D89B3B-1761-4762-BF4F-1975D5CB7308}"/>
              </a:ext>
            </a:extLst>
          </p:cNvPr>
          <p:cNvSpPr>
            <a:spLocks noGrp="1"/>
          </p:cNvSpPr>
          <p:nvPr>
            <p:ph type="dt" sz="half" idx="10"/>
          </p:nvPr>
        </p:nvSpPr>
        <p:spPr/>
        <p:txBody>
          <a:bodyPr/>
          <a:lstStyle/>
          <a:p>
            <a:fld id="{891B4233-F338-4C4F-9D89-D7D648A900B7}" type="datetimeFigureOut">
              <a:rPr lang="en-IN" smtClean="0"/>
              <a:t>06-07-2022</a:t>
            </a:fld>
            <a:endParaRPr lang="en-IN"/>
          </a:p>
        </p:txBody>
      </p:sp>
      <p:sp>
        <p:nvSpPr>
          <p:cNvPr id="5" name="Footer Placeholder 4">
            <a:extLst>
              <a:ext uri="{FF2B5EF4-FFF2-40B4-BE49-F238E27FC236}">
                <a16:creationId xmlns:a16="http://schemas.microsoft.com/office/drawing/2014/main" id="{307DC10E-EACB-48E6-B876-92701F417F0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79A69420-2084-4C45-AE42-32BEBD4680D5}"/>
              </a:ext>
            </a:extLst>
          </p:cNvPr>
          <p:cNvSpPr>
            <a:spLocks noGrp="1"/>
          </p:cNvSpPr>
          <p:nvPr>
            <p:ph type="sldNum" sz="quarter" idx="12"/>
          </p:nvPr>
        </p:nvSpPr>
        <p:spPr/>
        <p:txBody>
          <a:bodyPr/>
          <a:lstStyle/>
          <a:p>
            <a:fld id="{73872D22-2D97-41DF-90FB-F86FE1C2A137}" type="slidenum">
              <a:rPr lang="en-IN" smtClean="0"/>
              <a:t>‹#›</a:t>
            </a:fld>
            <a:endParaRPr lang="en-IN"/>
          </a:p>
        </p:txBody>
      </p:sp>
    </p:spTree>
    <p:extLst>
      <p:ext uri="{BB962C8B-B14F-4D97-AF65-F5344CB8AC3E}">
        <p14:creationId xmlns:p14="http://schemas.microsoft.com/office/powerpoint/2010/main" val="9428782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29E56-64FA-49D4-9D14-9BB4B2573856}"/>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91A34492-083F-44F7-89B6-B8DECA9404D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AE511654-7E9C-4A60-B6E1-6B12A24559F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8DFA3EF0-234E-4B52-B7A9-E0E218F7A3A1}"/>
              </a:ext>
            </a:extLst>
          </p:cNvPr>
          <p:cNvSpPr>
            <a:spLocks noGrp="1"/>
          </p:cNvSpPr>
          <p:nvPr>
            <p:ph type="dt" sz="half" idx="10"/>
          </p:nvPr>
        </p:nvSpPr>
        <p:spPr/>
        <p:txBody>
          <a:bodyPr/>
          <a:lstStyle/>
          <a:p>
            <a:fld id="{891B4233-F338-4C4F-9D89-D7D648A900B7}" type="datetimeFigureOut">
              <a:rPr lang="en-IN" smtClean="0"/>
              <a:t>06-07-2022</a:t>
            </a:fld>
            <a:endParaRPr lang="en-IN"/>
          </a:p>
        </p:txBody>
      </p:sp>
      <p:sp>
        <p:nvSpPr>
          <p:cNvPr id="6" name="Footer Placeholder 5">
            <a:extLst>
              <a:ext uri="{FF2B5EF4-FFF2-40B4-BE49-F238E27FC236}">
                <a16:creationId xmlns:a16="http://schemas.microsoft.com/office/drawing/2014/main" id="{30579984-4E2C-4553-91A8-F15FEB42AEC9}"/>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FB959238-8F2C-4D93-8062-FA6902AFCAD5}"/>
              </a:ext>
            </a:extLst>
          </p:cNvPr>
          <p:cNvSpPr>
            <a:spLocks noGrp="1"/>
          </p:cNvSpPr>
          <p:nvPr>
            <p:ph type="sldNum" sz="quarter" idx="12"/>
          </p:nvPr>
        </p:nvSpPr>
        <p:spPr/>
        <p:txBody>
          <a:bodyPr/>
          <a:lstStyle/>
          <a:p>
            <a:fld id="{73872D22-2D97-41DF-90FB-F86FE1C2A137}" type="slidenum">
              <a:rPr lang="en-IN" smtClean="0"/>
              <a:t>‹#›</a:t>
            </a:fld>
            <a:endParaRPr lang="en-IN"/>
          </a:p>
        </p:txBody>
      </p:sp>
    </p:spTree>
    <p:extLst>
      <p:ext uri="{BB962C8B-B14F-4D97-AF65-F5344CB8AC3E}">
        <p14:creationId xmlns:p14="http://schemas.microsoft.com/office/powerpoint/2010/main" val="34753366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0BA7DC-AF7E-417D-87A8-877ECA971B73}"/>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DBA08625-18DA-4004-B8F5-09F0E7563F6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79EB277-10EF-4E75-BBB0-0F7BE62798A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B57212EA-4E85-43DA-BCF6-27FECAABB16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B338E3E-C0C1-4A95-8D43-8373CBEB650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DC695217-672B-471C-A71F-8E21E0A70A56}"/>
              </a:ext>
            </a:extLst>
          </p:cNvPr>
          <p:cNvSpPr>
            <a:spLocks noGrp="1"/>
          </p:cNvSpPr>
          <p:nvPr>
            <p:ph type="dt" sz="half" idx="10"/>
          </p:nvPr>
        </p:nvSpPr>
        <p:spPr/>
        <p:txBody>
          <a:bodyPr/>
          <a:lstStyle/>
          <a:p>
            <a:fld id="{891B4233-F338-4C4F-9D89-D7D648A900B7}" type="datetimeFigureOut">
              <a:rPr lang="en-IN" smtClean="0"/>
              <a:t>06-07-2022</a:t>
            </a:fld>
            <a:endParaRPr lang="en-IN"/>
          </a:p>
        </p:txBody>
      </p:sp>
      <p:sp>
        <p:nvSpPr>
          <p:cNvPr id="8" name="Footer Placeholder 7">
            <a:extLst>
              <a:ext uri="{FF2B5EF4-FFF2-40B4-BE49-F238E27FC236}">
                <a16:creationId xmlns:a16="http://schemas.microsoft.com/office/drawing/2014/main" id="{3C79F947-4F2E-47DE-B71F-05DC9DEBDD59}"/>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45EE4714-B4DD-4175-A825-7D79E61AB09F}"/>
              </a:ext>
            </a:extLst>
          </p:cNvPr>
          <p:cNvSpPr>
            <a:spLocks noGrp="1"/>
          </p:cNvSpPr>
          <p:nvPr>
            <p:ph type="sldNum" sz="quarter" idx="12"/>
          </p:nvPr>
        </p:nvSpPr>
        <p:spPr/>
        <p:txBody>
          <a:bodyPr/>
          <a:lstStyle/>
          <a:p>
            <a:fld id="{73872D22-2D97-41DF-90FB-F86FE1C2A137}" type="slidenum">
              <a:rPr lang="en-IN" smtClean="0"/>
              <a:t>‹#›</a:t>
            </a:fld>
            <a:endParaRPr lang="en-IN"/>
          </a:p>
        </p:txBody>
      </p:sp>
    </p:spTree>
    <p:extLst>
      <p:ext uri="{BB962C8B-B14F-4D97-AF65-F5344CB8AC3E}">
        <p14:creationId xmlns:p14="http://schemas.microsoft.com/office/powerpoint/2010/main" val="14864230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751D90-3E65-4181-BC75-24A1FEAA58C7}"/>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862DFA0E-C4AC-434D-9D70-1A4C22AF57B5}"/>
              </a:ext>
            </a:extLst>
          </p:cNvPr>
          <p:cNvSpPr>
            <a:spLocks noGrp="1"/>
          </p:cNvSpPr>
          <p:nvPr>
            <p:ph type="dt" sz="half" idx="10"/>
          </p:nvPr>
        </p:nvSpPr>
        <p:spPr/>
        <p:txBody>
          <a:bodyPr/>
          <a:lstStyle/>
          <a:p>
            <a:fld id="{891B4233-F338-4C4F-9D89-D7D648A900B7}" type="datetimeFigureOut">
              <a:rPr lang="en-IN" smtClean="0"/>
              <a:t>06-07-2022</a:t>
            </a:fld>
            <a:endParaRPr lang="en-IN"/>
          </a:p>
        </p:txBody>
      </p:sp>
      <p:sp>
        <p:nvSpPr>
          <p:cNvPr id="4" name="Footer Placeholder 3">
            <a:extLst>
              <a:ext uri="{FF2B5EF4-FFF2-40B4-BE49-F238E27FC236}">
                <a16:creationId xmlns:a16="http://schemas.microsoft.com/office/drawing/2014/main" id="{2F39EAED-E8D5-4B33-9C48-FB69774AAD9E}"/>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F5E10179-4EAB-4A96-8976-EA0B3D206FDF}"/>
              </a:ext>
            </a:extLst>
          </p:cNvPr>
          <p:cNvSpPr>
            <a:spLocks noGrp="1"/>
          </p:cNvSpPr>
          <p:nvPr>
            <p:ph type="sldNum" sz="quarter" idx="12"/>
          </p:nvPr>
        </p:nvSpPr>
        <p:spPr/>
        <p:txBody>
          <a:bodyPr/>
          <a:lstStyle/>
          <a:p>
            <a:fld id="{73872D22-2D97-41DF-90FB-F86FE1C2A137}" type="slidenum">
              <a:rPr lang="en-IN" smtClean="0"/>
              <a:t>‹#›</a:t>
            </a:fld>
            <a:endParaRPr lang="en-IN"/>
          </a:p>
        </p:txBody>
      </p:sp>
    </p:spTree>
    <p:extLst>
      <p:ext uri="{BB962C8B-B14F-4D97-AF65-F5344CB8AC3E}">
        <p14:creationId xmlns:p14="http://schemas.microsoft.com/office/powerpoint/2010/main" val="30581143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B63BC4-487A-4B74-B927-0E5DEB92AA6D}"/>
              </a:ext>
            </a:extLst>
          </p:cNvPr>
          <p:cNvSpPr>
            <a:spLocks noGrp="1"/>
          </p:cNvSpPr>
          <p:nvPr>
            <p:ph type="dt" sz="half" idx="10"/>
          </p:nvPr>
        </p:nvSpPr>
        <p:spPr/>
        <p:txBody>
          <a:bodyPr/>
          <a:lstStyle/>
          <a:p>
            <a:fld id="{891B4233-F338-4C4F-9D89-D7D648A900B7}" type="datetimeFigureOut">
              <a:rPr lang="en-IN" smtClean="0"/>
              <a:t>06-07-2022</a:t>
            </a:fld>
            <a:endParaRPr lang="en-IN"/>
          </a:p>
        </p:txBody>
      </p:sp>
      <p:sp>
        <p:nvSpPr>
          <p:cNvPr id="3" name="Footer Placeholder 2">
            <a:extLst>
              <a:ext uri="{FF2B5EF4-FFF2-40B4-BE49-F238E27FC236}">
                <a16:creationId xmlns:a16="http://schemas.microsoft.com/office/drawing/2014/main" id="{2262CC7D-8B95-47DC-92B2-41DC2A9CF141}"/>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D7588EF4-8AE9-4479-A5A8-F51A99F0C9B7}"/>
              </a:ext>
            </a:extLst>
          </p:cNvPr>
          <p:cNvSpPr>
            <a:spLocks noGrp="1"/>
          </p:cNvSpPr>
          <p:nvPr>
            <p:ph type="sldNum" sz="quarter" idx="12"/>
          </p:nvPr>
        </p:nvSpPr>
        <p:spPr/>
        <p:txBody>
          <a:bodyPr/>
          <a:lstStyle/>
          <a:p>
            <a:fld id="{73872D22-2D97-41DF-90FB-F86FE1C2A137}" type="slidenum">
              <a:rPr lang="en-IN" smtClean="0"/>
              <a:t>‹#›</a:t>
            </a:fld>
            <a:endParaRPr lang="en-IN"/>
          </a:p>
        </p:txBody>
      </p:sp>
    </p:spTree>
    <p:extLst>
      <p:ext uri="{BB962C8B-B14F-4D97-AF65-F5344CB8AC3E}">
        <p14:creationId xmlns:p14="http://schemas.microsoft.com/office/powerpoint/2010/main" val="26652673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3B046-E0CA-48B0-B04F-7D2019B4CED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D00A68CA-3BAF-4619-97B3-A084718529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9478CAFF-6234-4C1D-BA17-D54F6BFE9B4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FB8DA8E-AD0D-454B-A145-D32195D6062A}"/>
              </a:ext>
            </a:extLst>
          </p:cNvPr>
          <p:cNvSpPr>
            <a:spLocks noGrp="1"/>
          </p:cNvSpPr>
          <p:nvPr>
            <p:ph type="dt" sz="half" idx="10"/>
          </p:nvPr>
        </p:nvSpPr>
        <p:spPr/>
        <p:txBody>
          <a:bodyPr/>
          <a:lstStyle/>
          <a:p>
            <a:fld id="{891B4233-F338-4C4F-9D89-D7D648A900B7}" type="datetimeFigureOut">
              <a:rPr lang="en-IN" smtClean="0"/>
              <a:t>06-07-2022</a:t>
            </a:fld>
            <a:endParaRPr lang="en-IN"/>
          </a:p>
        </p:txBody>
      </p:sp>
      <p:sp>
        <p:nvSpPr>
          <p:cNvPr id="6" name="Footer Placeholder 5">
            <a:extLst>
              <a:ext uri="{FF2B5EF4-FFF2-40B4-BE49-F238E27FC236}">
                <a16:creationId xmlns:a16="http://schemas.microsoft.com/office/drawing/2014/main" id="{6AA412BB-C37B-4EDE-A3F8-4FEE925D741C}"/>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AD853903-24FB-40BE-B63C-5E61EBFE4536}"/>
              </a:ext>
            </a:extLst>
          </p:cNvPr>
          <p:cNvSpPr>
            <a:spLocks noGrp="1"/>
          </p:cNvSpPr>
          <p:nvPr>
            <p:ph type="sldNum" sz="quarter" idx="12"/>
          </p:nvPr>
        </p:nvSpPr>
        <p:spPr/>
        <p:txBody>
          <a:bodyPr/>
          <a:lstStyle/>
          <a:p>
            <a:fld id="{73872D22-2D97-41DF-90FB-F86FE1C2A137}" type="slidenum">
              <a:rPr lang="en-IN" smtClean="0"/>
              <a:t>‹#›</a:t>
            </a:fld>
            <a:endParaRPr lang="en-IN"/>
          </a:p>
        </p:txBody>
      </p:sp>
    </p:spTree>
    <p:extLst>
      <p:ext uri="{BB962C8B-B14F-4D97-AF65-F5344CB8AC3E}">
        <p14:creationId xmlns:p14="http://schemas.microsoft.com/office/powerpoint/2010/main" val="8743376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24E1A-812F-498F-8820-C99005DD66E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EC6BEC77-6549-4181-BD67-35BBDA8B009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CE18D165-A72C-48B2-A88B-394541F6D27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6C43CC2-1973-4955-9C12-67304D1B1DEF}"/>
              </a:ext>
            </a:extLst>
          </p:cNvPr>
          <p:cNvSpPr>
            <a:spLocks noGrp="1"/>
          </p:cNvSpPr>
          <p:nvPr>
            <p:ph type="dt" sz="half" idx="10"/>
          </p:nvPr>
        </p:nvSpPr>
        <p:spPr/>
        <p:txBody>
          <a:bodyPr/>
          <a:lstStyle/>
          <a:p>
            <a:fld id="{891B4233-F338-4C4F-9D89-D7D648A900B7}" type="datetimeFigureOut">
              <a:rPr lang="en-IN" smtClean="0"/>
              <a:t>06-07-2022</a:t>
            </a:fld>
            <a:endParaRPr lang="en-IN"/>
          </a:p>
        </p:txBody>
      </p:sp>
      <p:sp>
        <p:nvSpPr>
          <p:cNvPr id="6" name="Footer Placeholder 5">
            <a:extLst>
              <a:ext uri="{FF2B5EF4-FFF2-40B4-BE49-F238E27FC236}">
                <a16:creationId xmlns:a16="http://schemas.microsoft.com/office/drawing/2014/main" id="{FB1CC521-0297-4F34-827F-7687FA42BD35}"/>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80CFEED5-ACEC-4ED8-94D7-1878ECE562E2}"/>
              </a:ext>
            </a:extLst>
          </p:cNvPr>
          <p:cNvSpPr>
            <a:spLocks noGrp="1"/>
          </p:cNvSpPr>
          <p:nvPr>
            <p:ph type="sldNum" sz="quarter" idx="12"/>
          </p:nvPr>
        </p:nvSpPr>
        <p:spPr/>
        <p:txBody>
          <a:bodyPr/>
          <a:lstStyle/>
          <a:p>
            <a:fld id="{73872D22-2D97-41DF-90FB-F86FE1C2A137}" type="slidenum">
              <a:rPr lang="en-IN" smtClean="0"/>
              <a:t>‹#›</a:t>
            </a:fld>
            <a:endParaRPr lang="en-IN"/>
          </a:p>
        </p:txBody>
      </p:sp>
    </p:spTree>
    <p:extLst>
      <p:ext uri="{BB962C8B-B14F-4D97-AF65-F5344CB8AC3E}">
        <p14:creationId xmlns:p14="http://schemas.microsoft.com/office/powerpoint/2010/main" val="38952012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321BA52-A62B-46BC-AD6A-095AE13258A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129A6713-7D30-4B83-A935-E7174A76DE5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2B1EC53-2A45-4066-A489-860A9446DDC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1B4233-F338-4C4F-9D89-D7D648A900B7}" type="datetimeFigureOut">
              <a:rPr lang="en-IN" smtClean="0"/>
              <a:t>06-07-2022</a:t>
            </a:fld>
            <a:endParaRPr lang="en-IN"/>
          </a:p>
        </p:txBody>
      </p:sp>
      <p:sp>
        <p:nvSpPr>
          <p:cNvPr id="5" name="Footer Placeholder 4">
            <a:extLst>
              <a:ext uri="{FF2B5EF4-FFF2-40B4-BE49-F238E27FC236}">
                <a16:creationId xmlns:a16="http://schemas.microsoft.com/office/drawing/2014/main" id="{DE6980D2-DBFD-4872-8B83-F71CAA7978B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F38C2610-CBAD-43E7-9172-177038ED89D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3872D22-2D97-41DF-90FB-F86FE1C2A137}" type="slidenum">
              <a:rPr lang="en-IN" smtClean="0"/>
              <a:t>‹#›</a:t>
            </a:fld>
            <a:endParaRPr lang="en-IN"/>
          </a:p>
        </p:txBody>
      </p:sp>
    </p:spTree>
    <p:extLst>
      <p:ext uri="{BB962C8B-B14F-4D97-AF65-F5344CB8AC3E}">
        <p14:creationId xmlns:p14="http://schemas.microsoft.com/office/powerpoint/2010/main" val="307493527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hyperlink" Target="https://en.wikipedia.org/wiki/Software_design" TargetMode="External"/><Relationship Id="rId7" Type="http://schemas.openxmlformats.org/officeDocument/2006/relationships/image" Target="../media/image4.jpe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hyperlink" Target="https://en.wikipedia.org/wiki/Software_prototyping" TargetMode="External"/><Relationship Id="rId5" Type="http://schemas.openxmlformats.org/officeDocument/2006/relationships/hyperlink" Target="https://en.wikipedia.org/wiki/Waterfall_model" TargetMode="External"/><Relationship Id="rId4" Type="http://schemas.openxmlformats.org/officeDocument/2006/relationships/hyperlink" Target="https://en.wikipedia.org/wiki/Software_testing"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en.wikipedia.org/wiki/Software_testing"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hyperlink" Target="https://en.wikipedia.org/wiki/Software_prototype" TargetMode="External"/><Relationship Id="rId7" Type="http://schemas.openxmlformats.org/officeDocument/2006/relationships/hyperlink" Target="https://en.wikipedia.org/wiki/Graphical_user_interface_builder"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hyperlink" Target="https://en.wikipedia.org/wiki/Software_requirements" TargetMode="External"/><Relationship Id="rId5" Type="http://schemas.openxmlformats.org/officeDocument/2006/relationships/hyperlink" Target="https://en.wikipedia.org/wiki/User_interface" TargetMode="External"/><Relationship Id="rId4" Type="http://schemas.openxmlformats.org/officeDocument/2006/relationships/hyperlink" Target="https://en.wikipedia.org/wiki/Software"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9.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2.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Google Shape;68;p20">
            <a:extLst>
              <a:ext uri="{FF2B5EF4-FFF2-40B4-BE49-F238E27FC236}">
                <a16:creationId xmlns:a16="http://schemas.microsoft.com/office/drawing/2014/main" id="{10C54E31-912E-4F59-A978-01551B0802E9}"/>
              </a:ext>
            </a:extLst>
          </p:cNvPr>
          <p:cNvSpPr txBox="1">
            <a:spLocks noGrp="1"/>
          </p:cNvSpPr>
          <p:nvPr/>
        </p:nvSpPr>
        <p:spPr>
          <a:xfrm>
            <a:off x="6210779" y="3296405"/>
            <a:ext cx="4917379" cy="1535700"/>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5200"/>
              <a:buFont typeface="Fira Sans Extra Condensed Medium"/>
              <a:buNone/>
              <a:defRPr sz="5000" b="0" i="0" u="none" strike="noStrike" cap="none">
                <a:solidFill>
                  <a:schemeClr val="dk1"/>
                </a:solidFill>
                <a:latin typeface="Fira Sans Extra Condensed Medium"/>
                <a:ea typeface="Fira Sans Extra Condensed Medium"/>
                <a:cs typeface="Fira Sans Extra Condensed Medium"/>
                <a:sym typeface="Fira Sans Extra Condensed Medium"/>
              </a:defRPr>
            </a:lvl1pPr>
            <a:lvl2pPr marR="0" lvl="1" algn="ctr" rtl="0">
              <a:lnSpc>
                <a:spcPct val="100000"/>
              </a:lnSpc>
              <a:spcBef>
                <a:spcPts val="0"/>
              </a:spcBef>
              <a:spcAft>
                <a:spcPts val="0"/>
              </a:spcAft>
              <a:buClr>
                <a:srgbClr val="434343"/>
              </a:buClr>
              <a:buSzPts val="5200"/>
              <a:buFont typeface="Fira Sans Extra Condensed Medium"/>
              <a:buNone/>
              <a:defRPr sz="5200" b="0" i="0" u="none" strike="noStrike" cap="none">
                <a:solidFill>
                  <a:srgbClr val="434343"/>
                </a:solidFill>
                <a:latin typeface="Fira Sans Extra Condensed Medium"/>
                <a:ea typeface="Fira Sans Extra Condensed Medium"/>
                <a:cs typeface="Fira Sans Extra Condensed Medium"/>
                <a:sym typeface="Fira Sans Extra Condensed Medium"/>
              </a:defRPr>
            </a:lvl2pPr>
            <a:lvl3pPr marR="0" lvl="2" algn="ctr" rtl="0">
              <a:lnSpc>
                <a:spcPct val="100000"/>
              </a:lnSpc>
              <a:spcBef>
                <a:spcPts val="0"/>
              </a:spcBef>
              <a:spcAft>
                <a:spcPts val="0"/>
              </a:spcAft>
              <a:buClr>
                <a:srgbClr val="434343"/>
              </a:buClr>
              <a:buSzPts val="5200"/>
              <a:buFont typeface="Fira Sans Extra Condensed Medium"/>
              <a:buNone/>
              <a:defRPr sz="5200" b="0" i="0" u="none" strike="noStrike" cap="none">
                <a:solidFill>
                  <a:srgbClr val="434343"/>
                </a:solidFill>
                <a:latin typeface="Fira Sans Extra Condensed Medium"/>
                <a:ea typeface="Fira Sans Extra Condensed Medium"/>
                <a:cs typeface="Fira Sans Extra Condensed Medium"/>
                <a:sym typeface="Fira Sans Extra Condensed Medium"/>
              </a:defRPr>
            </a:lvl3pPr>
            <a:lvl4pPr marR="0" lvl="3" algn="ctr" rtl="0">
              <a:lnSpc>
                <a:spcPct val="100000"/>
              </a:lnSpc>
              <a:spcBef>
                <a:spcPts val="0"/>
              </a:spcBef>
              <a:spcAft>
                <a:spcPts val="0"/>
              </a:spcAft>
              <a:buClr>
                <a:srgbClr val="434343"/>
              </a:buClr>
              <a:buSzPts val="5200"/>
              <a:buFont typeface="Fira Sans Extra Condensed Medium"/>
              <a:buNone/>
              <a:defRPr sz="5200" b="0" i="0" u="none" strike="noStrike" cap="none">
                <a:solidFill>
                  <a:srgbClr val="434343"/>
                </a:solidFill>
                <a:latin typeface="Fira Sans Extra Condensed Medium"/>
                <a:ea typeface="Fira Sans Extra Condensed Medium"/>
                <a:cs typeface="Fira Sans Extra Condensed Medium"/>
                <a:sym typeface="Fira Sans Extra Condensed Medium"/>
              </a:defRPr>
            </a:lvl4pPr>
            <a:lvl5pPr marR="0" lvl="4" algn="ctr" rtl="0">
              <a:lnSpc>
                <a:spcPct val="100000"/>
              </a:lnSpc>
              <a:spcBef>
                <a:spcPts val="0"/>
              </a:spcBef>
              <a:spcAft>
                <a:spcPts val="0"/>
              </a:spcAft>
              <a:buClr>
                <a:srgbClr val="434343"/>
              </a:buClr>
              <a:buSzPts val="5200"/>
              <a:buFont typeface="Fira Sans Extra Condensed Medium"/>
              <a:buNone/>
              <a:defRPr sz="5200" b="0" i="0" u="none" strike="noStrike" cap="none">
                <a:solidFill>
                  <a:srgbClr val="434343"/>
                </a:solidFill>
                <a:latin typeface="Fira Sans Extra Condensed Medium"/>
                <a:ea typeface="Fira Sans Extra Condensed Medium"/>
                <a:cs typeface="Fira Sans Extra Condensed Medium"/>
                <a:sym typeface="Fira Sans Extra Condensed Medium"/>
              </a:defRPr>
            </a:lvl5pPr>
            <a:lvl6pPr marR="0" lvl="5" algn="ctr" rtl="0">
              <a:lnSpc>
                <a:spcPct val="100000"/>
              </a:lnSpc>
              <a:spcBef>
                <a:spcPts val="0"/>
              </a:spcBef>
              <a:spcAft>
                <a:spcPts val="0"/>
              </a:spcAft>
              <a:buClr>
                <a:srgbClr val="434343"/>
              </a:buClr>
              <a:buSzPts val="5200"/>
              <a:buFont typeface="Fira Sans Extra Condensed Medium"/>
              <a:buNone/>
              <a:defRPr sz="5200" b="0" i="0" u="none" strike="noStrike" cap="none">
                <a:solidFill>
                  <a:srgbClr val="434343"/>
                </a:solidFill>
                <a:latin typeface="Fira Sans Extra Condensed Medium"/>
                <a:ea typeface="Fira Sans Extra Condensed Medium"/>
                <a:cs typeface="Fira Sans Extra Condensed Medium"/>
                <a:sym typeface="Fira Sans Extra Condensed Medium"/>
              </a:defRPr>
            </a:lvl6pPr>
            <a:lvl7pPr marR="0" lvl="6" algn="ctr" rtl="0">
              <a:lnSpc>
                <a:spcPct val="100000"/>
              </a:lnSpc>
              <a:spcBef>
                <a:spcPts val="0"/>
              </a:spcBef>
              <a:spcAft>
                <a:spcPts val="0"/>
              </a:spcAft>
              <a:buClr>
                <a:srgbClr val="434343"/>
              </a:buClr>
              <a:buSzPts val="5200"/>
              <a:buFont typeface="Fira Sans Extra Condensed Medium"/>
              <a:buNone/>
              <a:defRPr sz="5200" b="0" i="0" u="none" strike="noStrike" cap="none">
                <a:solidFill>
                  <a:srgbClr val="434343"/>
                </a:solidFill>
                <a:latin typeface="Fira Sans Extra Condensed Medium"/>
                <a:ea typeface="Fira Sans Extra Condensed Medium"/>
                <a:cs typeface="Fira Sans Extra Condensed Medium"/>
                <a:sym typeface="Fira Sans Extra Condensed Medium"/>
              </a:defRPr>
            </a:lvl7pPr>
            <a:lvl8pPr marR="0" lvl="7" algn="ctr" rtl="0">
              <a:lnSpc>
                <a:spcPct val="100000"/>
              </a:lnSpc>
              <a:spcBef>
                <a:spcPts val="0"/>
              </a:spcBef>
              <a:spcAft>
                <a:spcPts val="0"/>
              </a:spcAft>
              <a:buClr>
                <a:srgbClr val="434343"/>
              </a:buClr>
              <a:buSzPts val="5200"/>
              <a:buFont typeface="Fira Sans Extra Condensed Medium"/>
              <a:buNone/>
              <a:defRPr sz="5200" b="0" i="0" u="none" strike="noStrike" cap="none">
                <a:solidFill>
                  <a:srgbClr val="434343"/>
                </a:solidFill>
                <a:latin typeface="Fira Sans Extra Condensed Medium"/>
                <a:ea typeface="Fira Sans Extra Condensed Medium"/>
                <a:cs typeface="Fira Sans Extra Condensed Medium"/>
                <a:sym typeface="Fira Sans Extra Condensed Medium"/>
              </a:defRPr>
            </a:lvl8pPr>
            <a:lvl9pPr marR="0" lvl="8" algn="ctr" rtl="0">
              <a:lnSpc>
                <a:spcPct val="100000"/>
              </a:lnSpc>
              <a:spcBef>
                <a:spcPts val="0"/>
              </a:spcBef>
              <a:spcAft>
                <a:spcPts val="0"/>
              </a:spcAft>
              <a:buClr>
                <a:srgbClr val="434343"/>
              </a:buClr>
              <a:buSzPts val="5200"/>
              <a:buFont typeface="Fira Sans Extra Condensed Medium"/>
              <a:buNone/>
              <a:defRPr sz="5200" b="0" i="0" u="none" strike="noStrike" cap="none">
                <a:solidFill>
                  <a:srgbClr val="434343"/>
                </a:solidFill>
                <a:latin typeface="Fira Sans Extra Condensed Medium"/>
                <a:ea typeface="Fira Sans Extra Condensed Medium"/>
                <a:cs typeface="Fira Sans Extra Condensed Medium"/>
                <a:sym typeface="Fira Sans Extra Condensed Medium"/>
              </a:defRPr>
            </a:lvl9pPr>
          </a:lstStyle>
          <a:p>
            <a:pPr marL="0" marR="0" lvl="0" indent="0" algn="ctr" defTabSz="914400" rtl="0" eaLnBrk="1" fontAlgn="auto" latinLnBrk="0" hangingPunct="1">
              <a:lnSpc>
                <a:spcPct val="90000"/>
              </a:lnSpc>
              <a:spcBef>
                <a:spcPts val="0"/>
              </a:spcBef>
              <a:spcAft>
                <a:spcPts val="0"/>
              </a:spcAft>
              <a:buClr>
                <a:srgbClr val="000000"/>
              </a:buClr>
              <a:buSzPts val="5200"/>
              <a:buFont typeface="Fira Sans Extra Condensed Medium"/>
              <a:buNone/>
              <a:tabLst/>
              <a:defRPr/>
            </a:pPr>
            <a:r>
              <a:rPr kumimoji="0" lang="en-US" sz="5000" b="0" i="0" u="none" strike="noStrike" kern="0" cap="none" spc="0" normalizeH="0" baseline="0" noProof="0" dirty="0">
                <a:ln>
                  <a:noFill/>
                </a:ln>
                <a:solidFill>
                  <a:srgbClr val="000000"/>
                </a:solidFill>
                <a:effectLst/>
                <a:uLnTx/>
                <a:uFillTx/>
                <a:latin typeface="Fira Sans Extra Condensed Medium"/>
                <a:sym typeface="Fira Sans Extra Condensed Medium"/>
              </a:rPr>
              <a:t>Software Development Life Cycle(SDLC)</a:t>
            </a:r>
            <a:endParaRPr kumimoji="0" sz="5000" b="0" i="0" u="none" strike="noStrike" kern="0" cap="none" spc="0" normalizeH="0" baseline="0" noProof="0" dirty="0">
              <a:ln>
                <a:noFill/>
              </a:ln>
              <a:solidFill>
                <a:srgbClr val="000000"/>
              </a:solidFill>
              <a:effectLst/>
              <a:uLnTx/>
              <a:uFillTx/>
              <a:latin typeface="Fira Sans Extra Condensed Medium"/>
              <a:sym typeface="Fira Sans Extra Condensed Medium"/>
            </a:endParaRPr>
          </a:p>
        </p:txBody>
      </p:sp>
      <p:sp>
        <p:nvSpPr>
          <p:cNvPr id="28" name="Google Shape;69;p20">
            <a:extLst>
              <a:ext uri="{FF2B5EF4-FFF2-40B4-BE49-F238E27FC236}">
                <a16:creationId xmlns:a16="http://schemas.microsoft.com/office/drawing/2014/main" id="{A924A1CB-D481-405C-88D7-610532BA3D43}"/>
              </a:ext>
            </a:extLst>
          </p:cNvPr>
          <p:cNvSpPr txBox="1">
            <a:spLocks noGrp="1"/>
          </p:cNvSpPr>
          <p:nvPr/>
        </p:nvSpPr>
        <p:spPr>
          <a:xfrm>
            <a:off x="7307618" y="4984614"/>
            <a:ext cx="2723700" cy="6948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rgbClr val="434343"/>
              </a:buClr>
              <a:buSzPts val="2800"/>
              <a:buFont typeface="Roboto"/>
              <a:buNone/>
              <a:defRPr sz="1800" b="0" i="0" u="none" strike="noStrike" cap="none">
                <a:solidFill>
                  <a:schemeClr val="dk1"/>
                </a:solidFill>
                <a:latin typeface="Roboto"/>
                <a:ea typeface="Roboto"/>
                <a:cs typeface="Roboto"/>
                <a:sym typeface="Roboto"/>
              </a:defRPr>
            </a:lvl1pPr>
            <a:lvl2pPr marL="914400" marR="0" lvl="1" indent="-317500" algn="ctr" rtl="0">
              <a:lnSpc>
                <a:spcPct val="100000"/>
              </a:lnSpc>
              <a:spcBef>
                <a:spcPts val="0"/>
              </a:spcBef>
              <a:spcAft>
                <a:spcPts val="0"/>
              </a:spcAft>
              <a:buClr>
                <a:srgbClr val="434343"/>
              </a:buClr>
              <a:buSzPts val="2800"/>
              <a:buFont typeface="Roboto"/>
              <a:buNone/>
              <a:defRPr sz="2800" b="0" i="0" u="none" strike="noStrike" cap="none">
                <a:solidFill>
                  <a:srgbClr val="434343"/>
                </a:solidFill>
                <a:latin typeface="Roboto"/>
                <a:ea typeface="Roboto"/>
                <a:cs typeface="Roboto"/>
                <a:sym typeface="Roboto"/>
              </a:defRPr>
            </a:lvl2pPr>
            <a:lvl3pPr marL="1371600" marR="0" lvl="2" indent="-317500" algn="ctr" rtl="0">
              <a:lnSpc>
                <a:spcPct val="100000"/>
              </a:lnSpc>
              <a:spcBef>
                <a:spcPts val="0"/>
              </a:spcBef>
              <a:spcAft>
                <a:spcPts val="0"/>
              </a:spcAft>
              <a:buClr>
                <a:srgbClr val="434343"/>
              </a:buClr>
              <a:buSzPts val="2800"/>
              <a:buFont typeface="Roboto"/>
              <a:buNone/>
              <a:defRPr sz="2800" b="0" i="0" u="none" strike="noStrike" cap="none">
                <a:solidFill>
                  <a:srgbClr val="434343"/>
                </a:solidFill>
                <a:latin typeface="Roboto"/>
                <a:ea typeface="Roboto"/>
                <a:cs typeface="Roboto"/>
                <a:sym typeface="Roboto"/>
              </a:defRPr>
            </a:lvl3pPr>
            <a:lvl4pPr marL="1828800" marR="0" lvl="3" indent="-317500" algn="ctr" rtl="0">
              <a:lnSpc>
                <a:spcPct val="100000"/>
              </a:lnSpc>
              <a:spcBef>
                <a:spcPts val="0"/>
              </a:spcBef>
              <a:spcAft>
                <a:spcPts val="0"/>
              </a:spcAft>
              <a:buClr>
                <a:srgbClr val="434343"/>
              </a:buClr>
              <a:buSzPts val="2800"/>
              <a:buFont typeface="Roboto"/>
              <a:buNone/>
              <a:defRPr sz="2800" b="0" i="0" u="none" strike="noStrike" cap="none">
                <a:solidFill>
                  <a:srgbClr val="434343"/>
                </a:solidFill>
                <a:latin typeface="Roboto"/>
                <a:ea typeface="Roboto"/>
                <a:cs typeface="Roboto"/>
                <a:sym typeface="Roboto"/>
              </a:defRPr>
            </a:lvl4pPr>
            <a:lvl5pPr marL="2286000" marR="0" lvl="4" indent="-317500" algn="ctr" rtl="0">
              <a:lnSpc>
                <a:spcPct val="100000"/>
              </a:lnSpc>
              <a:spcBef>
                <a:spcPts val="0"/>
              </a:spcBef>
              <a:spcAft>
                <a:spcPts val="0"/>
              </a:spcAft>
              <a:buClr>
                <a:srgbClr val="434343"/>
              </a:buClr>
              <a:buSzPts val="2800"/>
              <a:buFont typeface="Roboto"/>
              <a:buNone/>
              <a:defRPr sz="2800" b="0" i="0" u="none" strike="noStrike" cap="none">
                <a:solidFill>
                  <a:srgbClr val="434343"/>
                </a:solidFill>
                <a:latin typeface="Roboto"/>
                <a:ea typeface="Roboto"/>
                <a:cs typeface="Roboto"/>
                <a:sym typeface="Roboto"/>
              </a:defRPr>
            </a:lvl5pPr>
            <a:lvl6pPr marL="2743200" marR="0" lvl="5" indent="-317500" algn="ctr" rtl="0">
              <a:lnSpc>
                <a:spcPct val="100000"/>
              </a:lnSpc>
              <a:spcBef>
                <a:spcPts val="0"/>
              </a:spcBef>
              <a:spcAft>
                <a:spcPts val="0"/>
              </a:spcAft>
              <a:buClr>
                <a:srgbClr val="434343"/>
              </a:buClr>
              <a:buSzPts val="2800"/>
              <a:buFont typeface="Roboto"/>
              <a:buNone/>
              <a:defRPr sz="2800" b="0" i="0" u="none" strike="noStrike" cap="none">
                <a:solidFill>
                  <a:srgbClr val="434343"/>
                </a:solidFill>
                <a:latin typeface="Roboto"/>
                <a:ea typeface="Roboto"/>
                <a:cs typeface="Roboto"/>
                <a:sym typeface="Roboto"/>
              </a:defRPr>
            </a:lvl6pPr>
            <a:lvl7pPr marL="3200400" marR="0" lvl="6" indent="-317500" algn="ctr" rtl="0">
              <a:lnSpc>
                <a:spcPct val="100000"/>
              </a:lnSpc>
              <a:spcBef>
                <a:spcPts val="0"/>
              </a:spcBef>
              <a:spcAft>
                <a:spcPts val="0"/>
              </a:spcAft>
              <a:buClr>
                <a:srgbClr val="434343"/>
              </a:buClr>
              <a:buSzPts val="2800"/>
              <a:buFont typeface="Roboto"/>
              <a:buNone/>
              <a:defRPr sz="2800" b="0" i="0" u="none" strike="noStrike" cap="none">
                <a:solidFill>
                  <a:srgbClr val="434343"/>
                </a:solidFill>
                <a:latin typeface="Roboto"/>
                <a:ea typeface="Roboto"/>
                <a:cs typeface="Roboto"/>
                <a:sym typeface="Roboto"/>
              </a:defRPr>
            </a:lvl7pPr>
            <a:lvl8pPr marL="3657600" marR="0" lvl="7" indent="-317500" algn="ctr" rtl="0">
              <a:lnSpc>
                <a:spcPct val="100000"/>
              </a:lnSpc>
              <a:spcBef>
                <a:spcPts val="0"/>
              </a:spcBef>
              <a:spcAft>
                <a:spcPts val="0"/>
              </a:spcAft>
              <a:buClr>
                <a:srgbClr val="434343"/>
              </a:buClr>
              <a:buSzPts val="2800"/>
              <a:buFont typeface="Roboto"/>
              <a:buNone/>
              <a:defRPr sz="2800" b="0" i="0" u="none" strike="noStrike" cap="none">
                <a:solidFill>
                  <a:srgbClr val="434343"/>
                </a:solidFill>
                <a:latin typeface="Roboto"/>
                <a:ea typeface="Roboto"/>
                <a:cs typeface="Roboto"/>
                <a:sym typeface="Roboto"/>
              </a:defRPr>
            </a:lvl8pPr>
            <a:lvl9pPr marL="4114800" marR="0" lvl="8" indent="-317500" algn="ctr" rtl="0">
              <a:lnSpc>
                <a:spcPct val="100000"/>
              </a:lnSpc>
              <a:spcBef>
                <a:spcPts val="0"/>
              </a:spcBef>
              <a:spcAft>
                <a:spcPts val="0"/>
              </a:spcAft>
              <a:buClr>
                <a:srgbClr val="434343"/>
              </a:buClr>
              <a:buSzPts val="2800"/>
              <a:buFont typeface="Roboto"/>
              <a:buNone/>
              <a:defRPr sz="2800" b="0" i="0" u="none" strike="noStrike" cap="none">
                <a:solidFill>
                  <a:srgbClr val="434343"/>
                </a:solidFill>
                <a:latin typeface="Roboto"/>
                <a:ea typeface="Roboto"/>
                <a:cs typeface="Roboto"/>
                <a:sym typeface="Roboto"/>
              </a:defRPr>
            </a:lvl9pPr>
          </a:lstStyle>
          <a:p>
            <a:pPr marL="0" marR="0" lvl="0" indent="0" algn="ctr" defTabSz="914400" rtl="0" eaLnBrk="1" fontAlgn="auto" latinLnBrk="0" hangingPunct="1">
              <a:lnSpc>
                <a:spcPct val="100000"/>
              </a:lnSpc>
              <a:spcBef>
                <a:spcPts val="0"/>
              </a:spcBef>
              <a:spcAft>
                <a:spcPts val="0"/>
              </a:spcAft>
              <a:buClr>
                <a:srgbClr val="434343"/>
              </a:buClr>
              <a:buSzPts val="2800"/>
              <a:buFont typeface="Roboto"/>
              <a:buNone/>
              <a:tabLst/>
              <a:defRPr/>
            </a:pPr>
            <a:r>
              <a:rPr lang="en-US" kern="0" dirty="0">
                <a:solidFill>
                  <a:srgbClr val="000000"/>
                </a:solidFill>
              </a:rPr>
              <a:t>-Chandan Naresh</a:t>
            </a:r>
          </a:p>
          <a:p>
            <a:pPr marL="0" marR="0" lvl="0" indent="0" algn="ctr" defTabSz="914400" rtl="0" eaLnBrk="1" fontAlgn="auto" latinLnBrk="0" hangingPunct="1">
              <a:lnSpc>
                <a:spcPct val="100000"/>
              </a:lnSpc>
              <a:spcBef>
                <a:spcPts val="0"/>
              </a:spcBef>
              <a:spcAft>
                <a:spcPts val="0"/>
              </a:spcAft>
              <a:buClr>
                <a:srgbClr val="434343"/>
              </a:buClr>
              <a:buSzPts val="2800"/>
              <a:buFont typeface="Roboto"/>
              <a:buNone/>
              <a:tabLst/>
              <a:defRPr/>
            </a:pPr>
            <a:r>
              <a:rPr kumimoji="0" lang="en-US" sz="1800" b="0" i="0" u="none" strike="noStrike" kern="0" cap="none" spc="0" normalizeH="0" baseline="0" noProof="0" dirty="0">
                <a:ln>
                  <a:noFill/>
                </a:ln>
                <a:solidFill>
                  <a:srgbClr val="000000"/>
                </a:solidFill>
                <a:effectLst/>
                <a:uLnTx/>
                <a:uFillTx/>
                <a:latin typeface="Roboto"/>
                <a:ea typeface="Roboto"/>
                <a:sym typeface="Roboto"/>
              </a:rPr>
              <a:t>(Program Manager)</a:t>
            </a:r>
            <a:endParaRPr kumimoji="0" sz="1800" b="0" i="0" u="none" strike="noStrike" kern="0" cap="none" spc="0" normalizeH="0" baseline="0" noProof="0" dirty="0">
              <a:ln>
                <a:noFill/>
              </a:ln>
              <a:solidFill>
                <a:srgbClr val="000000"/>
              </a:solidFill>
              <a:effectLst/>
              <a:uLnTx/>
              <a:uFillTx/>
              <a:latin typeface="Roboto"/>
              <a:ea typeface="Roboto"/>
              <a:sym typeface="Roboto"/>
            </a:endParaRPr>
          </a:p>
        </p:txBody>
      </p:sp>
      <p:sp>
        <p:nvSpPr>
          <p:cNvPr id="29" name="Google Shape;70;p20">
            <a:extLst>
              <a:ext uri="{FF2B5EF4-FFF2-40B4-BE49-F238E27FC236}">
                <a16:creationId xmlns:a16="http://schemas.microsoft.com/office/drawing/2014/main" id="{40E58073-B214-4B35-86D8-2BC62CD47FB4}"/>
              </a:ext>
            </a:extLst>
          </p:cNvPr>
          <p:cNvSpPr/>
          <p:nvPr/>
        </p:nvSpPr>
        <p:spPr>
          <a:xfrm rot="-734058">
            <a:off x="4527421" y="3129158"/>
            <a:ext cx="711057" cy="710978"/>
          </a:xfrm>
          <a:custGeom>
            <a:avLst/>
            <a:gdLst/>
            <a:ahLst/>
            <a:cxnLst/>
            <a:rect l="l" t="t" r="r" b="b"/>
            <a:pathLst>
              <a:path w="9016" h="9015" extrusionOk="0">
                <a:moveTo>
                  <a:pt x="1" y="0"/>
                </a:moveTo>
                <a:cubicBezTo>
                  <a:pt x="1" y="4968"/>
                  <a:pt x="4043" y="9012"/>
                  <a:pt x="9010" y="9015"/>
                </a:cubicBezTo>
                <a:lnTo>
                  <a:pt x="9010" y="9015"/>
                </a:lnTo>
                <a:lnTo>
                  <a:pt x="9010" y="5685"/>
                </a:lnTo>
                <a:cubicBezTo>
                  <a:pt x="5878" y="5685"/>
                  <a:pt x="3325" y="3137"/>
                  <a:pt x="3325" y="0"/>
                </a:cubicBezTo>
                <a:close/>
                <a:moveTo>
                  <a:pt x="9010" y="9015"/>
                </a:moveTo>
                <a:lnTo>
                  <a:pt x="9010" y="9015"/>
                </a:lnTo>
                <a:lnTo>
                  <a:pt x="9015" y="9015"/>
                </a:lnTo>
                <a:cubicBezTo>
                  <a:pt x="9014" y="9015"/>
                  <a:pt x="9012" y="9015"/>
                  <a:pt x="9010" y="9015"/>
                </a:cubicBezTo>
                <a:close/>
              </a:path>
            </a:pathLst>
          </a:custGeom>
          <a:solidFill>
            <a:srgbClr val="43CAD9"/>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0" name="Google Shape;71;p20">
            <a:extLst>
              <a:ext uri="{FF2B5EF4-FFF2-40B4-BE49-F238E27FC236}">
                <a16:creationId xmlns:a16="http://schemas.microsoft.com/office/drawing/2014/main" id="{773282BF-7AE2-419D-BF4F-DB9405FAC1D9}"/>
              </a:ext>
            </a:extLst>
          </p:cNvPr>
          <p:cNvSpPr/>
          <p:nvPr/>
        </p:nvSpPr>
        <p:spPr>
          <a:xfrm>
            <a:off x="4105407" y="1657616"/>
            <a:ext cx="711069" cy="710596"/>
          </a:xfrm>
          <a:custGeom>
            <a:avLst/>
            <a:gdLst/>
            <a:ahLst/>
            <a:cxnLst/>
            <a:rect l="l" t="t" r="r" b="b"/>
            <a:pathLst>
              <a:path w="9016" h="9010" extrusionOk="0">
                <a:moveTo>
                  <a:pt x="1" y="1"/>
                </a:moveTo>
                <a:lnTo>
                  <a:pt x="1" y="3325"/>
                </a:lnTo>
                <a:cubicBezTo>
                  <a:pt x="3138" y="3325"/>
                  <a:pt x="5686" y="5878"/>
                  <a:pt x="5686" y="9010"/>
                </a:cubicBezTo>
                <a:lnTo>
                  <a:pt x="9015" y="9010"/>
                </a:lnTo>
                <a:cubicBezTo>
                  <a:pt x="9015" y="4046"/>
                  <a:pt x="4970" y="1"/>
                  <a:pt x="1" y="1"/>
                </a:cubicBezTo>
                <a:close/>
              </a:path>
            </a:pathLst>
          </a:custGeom>
          <a:solidFill>
            <a:srgbClr val="1D2F40"/>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1" name="Google Shape;72;p20">
            <a:extLst>
              <a:ext uri="{FF2B5EF4-FFF2-40B4-BE49-F238E27FC236}">
                <a16:creationId xmlns:a16="http://schemas.microsoft.com/office/drawing/2014/main" id="{964D68D8-FE7F-4DDA-A898-6377216218C3}"/>
              </a:ext>
            </a:extLst>
          </p:cNvPr>
          <p:cNvSpPr/>
          <p:nvPr/>
        </p:nvSpPr>
        <p:spPr>
          <a:xfrm>
            <a:off x="2736716" y="3495388"/>
            <a:ext cx="710991" cy="710991"/>
          </a:xfrm>
          <a:custGeom>
            <a:avLst/>
            <a:gdLst/>
            <a:ahLst/>
            <a:cxnLst/>
            <a:rect l="l" t="t" r="r" b="b"/>
            <a:pathLst>
              <a:path w="9015" h="9015" extrusionOk="0">
                <a:moveTo>
                  <a:pt x="0" y="0"/>
                </a:moveTo>
                <a:cubicBezTo>
                  <a:pt x="0" y="4970"/>
                  <a:pt x="4045" y="9015"/>
                  <a:pt x="9015" y="9015"/>
                </a:cubicBezTo>
                <a:lnTo>
                  <a:pt x="9015" y="5685"/>
                </a:lnTo>
                <a:cubicBezTo>
                  <a:pt x="5878" y="5685"/>
                  <a:pt x="3330" y="3137"/>
                  <a:pt x="3330" y="0"/>
                </a:cubicBezTo>
                <a:close/>
              </a:path>
            </a:pathLst>
          </a:custGeom>
          <a:solidFill>
            <a:srgbClr val="F29F05"/>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2" name="Google Shape;73;p20">
            <a:extLst>
              <a:ext uri="{FF2B5EF4-FFF2-40B4-BE49-F238E27FC236}">
                <a16:creationId xmlns:a16="http://schemas.microsoft.com/office/drawing/2014/main" id="{44D7F427-836D-48D7-8409-7F01E0F483AB}"/>
              </a:ext>
            </a:extLst>
          </p:cNvPr>
          <p:cNvSpPr/>
          <p:nvPr/>
        </p:nvSpPr>
        <p:spPr>
          <a:xfrm rot="-734058">
            <a:off x="3971111" y="3708963"/>
            <a:ext cx="710978" cy="710584"/>
          </a:xfrm>
          <a:custGeom>
            <a:avLst/>
            <a:gdLst/>
            <a:ahLst/>
            <a:cxnLst/>
            <a:rect l="l" t="t" r="r" b="b"/>
            <a:pathLst>
              <a:path w="9015" h="9010" extrusionOk="0">
                <a:moveTo>
                  <a:pt x="0" y="1"/>
                </a:moveTo>
                <a:lnTo>
                  <a:pt x="0" y="3325"/>
                </a:lnTo>
                <a:cubicBezTo>
                  <a:pt x="3137" y="3325"/>
                  <a:pt x="5685" y="5878"/>
                  <a:pt x="5685" y="9010"/>
                </a:cubicBezTo>
                <a:lnTo>
                  <a:pt x="9015" y="9010"/>
                </a:lnTo>
                <a:cubicBezTo>
                  <a:pt x="9015" y="4046"/>
                  <a:pt x="4970" y="1"/>
                  <a:pt x="0" y="1"/>
                </a:cubicBezTo>
                <a:close/>
              </a:path>
            </a:pathLst>
          </a:custGeom>
          <a:solidFill>
            <a:srgbClr val="F28080"/>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74;p20">
            <a:extLst>
              <a:ext uri="{FF2B5EF4-FFF2-40B4-BE49-F238E27FC236}">
                <a16:creationId xmlns:a16="http://schemas.microsoft.com/office/drawing/2014/main" id="{A193A15A-8DD2-4728-AC09-18E3294031BA}"/>
              </a:ext>
            </a:extLst>
          </p:cNvPr>
          <p:cNvSpPr/>
          <p:nvPr/>
        </p:nvSpPr>
        <p:spPr>
          <a:xfrm>
            <a:off x="1523981" y="2785269"/>
            <a:ext cx="2632124" cy="1421113"/>
          </a:xfrm>
          <a:custGeom>
            <a:avLst/>
            <a:gdLst/>
            <a:ahLst/>
            <a:cxnLst/>
            <a:rect l="l" t="t" r="r" b="b"/>
            <a:pathLst>
              <a:path w="33374" h="18019" extrusionOk="0">
                <a:moveTo>
                  <a:pt x="24364" y="0"/>
                </a:moveTo>
                <a:cubicBezTo>
                  <a:pt x="19395" y="0"/>
                  <a:pt x="15350" y="4040"/>
                  <a:pt x="15350" y="9010"/>
                </a:cubicBezTo>
                <a:lnTo>
                  <a:pt x="18679" y="9010"/>
                </a:lnTo>
                <a:cubicBezTo>
                  <a:pt x="18679" y="5873"/>
                  <a:pt x="21227" y="3325"/>
                  <a:pt x="24364" y="3325"/>
                </a:cubicBezTo>
                <a:cubicBezTo>
                  <a:pt x="27496" y="3325"/>
                  <a:pt x="30049" y="5873"/>
                  <a:pt x="30049" y="9010"/>
                </a:cubicBezTo>
                <a:cubicBezTo>
                  <a:pt x="30049" y="12147"/>
                  <a:pt x="27496" y="14695"/>
                  <a:pt x="24364" y="14695"/>
                </a:cubicBezTo>
                <a:lnTo>
                  <a:pt x="1" y="14695"/>
                </a:lnTo>
                <a:lnTo>
                  <a:pt x="1" y="18019"/>
                </a:lnTo>
                <a:lnTo>
                  <a:pt x="24364" y="18019"/>
                </a:lnTo>
                <a:cubicBezTo>
                  <a:pt x="29334" y="18019"/>
                  <a:pt x="33373" y="13979"/>
                  <a:pt x="33373" y="9010"/>
                </a:cubicBezTo>
                <a:cubicBezTo>
                  <a:pt x="33373" y="4040"/>
                  <a:pt x="29334" y="0"/>
                  <a:pt x="24364" y="0"/>
                </a:cubicBezTo>
                <a:close/>
              </a:path>
            </a:pathLst>
          </a:custGeom>
          <a:solidFill>
            <a:srgbClr val="1D2F40"/>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75;p20">
            <a:extLst>
              <a:ext uri="{FF2B5EF4-FFF2-40B4-BE49-F238E27FC236}">
                <a16:creationId xmlns:a16="http://schemas.microsoft.com/office/drawing/2014/main" id="{B58D029B-3845-4D0D-ABAD-9DC0097436DE}"/>
              </a:ext>
            </a:extLst>
          </p:cNvPr>
          <p:cNvSpPr/>
          <p:nvPr/>
        </p:nvSpPr>
        <p:spPr>
          <a:xfrm rot="-734058">
            <a:off x="3339138" y="3722726"/>
            <a:ext cx="1924096" cy="1421562"/>
          </a:xfrm>
          <a:custGeom>
            <a:avLst/>
            <a:gdLst/>
            <a:ahLst/>
            <a:cxnLst/>
            <a:rect l="l" t="t" r="r" b="b"/>
            <a:pathLst>
              <a:path w="24397" h="18025" extrusionOk="0">
                <a:moveTo>
                  <a:pt x="9009" y="1"/>
                </a:moveTo>
                <a:cubicBezTo>
                  <a:pt x="4045" y="1"/>
                  <a:pt x="0" y="4040"/>
                  <a:pt x="0" y="9010"/>
                </a:cubicBezTo>
                <a:cubicBezTo>
                  <a:pt x="0" y="13979"/>
                  <a:pt x="4045" y="18024"/>
                  <a:pt x="9009" y="18024"/>
                </a:cubicBezTo>
                <a:cubicBezTo>
                  <a:pt x="13979" y="18024"/>
                  <a:pt x="18024" y="13979"/>
                  <a:pt x="18024" y="9010"/>
                </a:cubicBezTo>
                <a:lnTo>
                  <a:pt x="14694" y="9010"/>
                </a:lnTo>
                <a:cubicBezTo>
                  <a:pt x="14694" y="12147"/>
                  <a:pt x="12146" y="14695"/>
                  <a:pt x="9009" y="14695"/>
                </a:cubicBezTo>
                <a:cubicBezTo>
                  <a:pt x="5878" y="14695"/>
                  <a:pt x="3330" y="12147"/>
                  <a:pt x="3330" y="9010"/>
                </a:cubicBezTo>
                <a:cubicBezTo>
                  <a:pt x="3330" y="5878"/>
                  <a:pt x="5878" y="3325"/>
                  <a:pt x="9009" y="3325"/>
                </a:cubicBezTo>
                <a:lnTo>
                  <a:pt x="24397" y="3325"/>
                </a:lnTo>
                <a:lnTo>
                  <a:pt x="24397" y="1"/>
                </a:lnTo>
                <a:close/>
              </a:path>
            </a:pathLst>
          </a:custGeom>
          <a:solidFill>
            <a:srgbClr val="43CAD9"/>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76;p20">
            <a:extLst>
              <a:ext uri="{FF2B5EF4-FFF2-40B4-BE49-F238E27FC236}">
                <a16:creationId xmlns:a16="http://schemas.microsoft.com/office/drawing/2014/main" id="{0ED8EA66-B722-4F5C-BF66-1801A722FA0D}"/>
              </a:ext>
            </a:extLst>
          </p:cNvPr>
          <p:cNvSpPr/>
          <p:nvPr/>
        </p:nvSpPr>
        <p:spPr>
          <a:xfrm rot="-734058">
            <a:off x="4383224" y="2358346"/>
            <a:ext cx="1483156" cy="1421088"/>
          </a:xfrm>
          <a:custGeom>
            <a:avLst/>
            <a:gdLst/>
            <a:ahLst/>
            <a:cxnLst/>
            <a:rect l="l" t="t" r="r" b="b"/>
            <a:pathLst>
              <a:path w="18806" h="18019" extrusionOk="0">
                <a:moveTo>
                  <a:pt x="9796" y="0"/>
                </a:moveTo>
                <a:cubicBezTo>
                  <a:pt x="4827" y="0"/>
                  <a:pt x="787" y="4040"/>
                  <a:pt x="787" y="9010"/>
                </a:cubicBezTo>
                <a:lnTo>
                  <a:pt x="4111" y="9010"/>
                </a:lnTo>
                <a:cubicBezTo>
                  <a:pt x="4111" y="5873"/>
                  <a:pt x="6665" y="3325"/>
                  <a:pt x="9796" y="3325"/>
                </a:cubicBezTo>
                <a:cubicBezTo>
                  <a:pt x="12933" y="3325"/>
                  <a:pt x="15481" y="5873"/>
                  <a:pt x="15481" y="9010"/>
                </a:cubicBezTo>
                <a:cubicBezTo>
                  <a:pt x="15481" y="10534"/>
                  <a:pt x="14887" y="11954"/>
                  <a:pt x="13803" y="13016"/>
                </a:cubicBezTo>
                <a:cubicBezTo>
                  <a:pt x="12702" y="14095"/>
                  <a:pt x="11211" y="14689"/>
                  <a:pt x="9598" y="14689"/>
                </a:cubicBezTo>
                <a:lnTo>
                  <a:pt x="0" y="14689"/>
                </a:lnTo>
                <a:lnTo>
                  <a:pt x="0" y="18019"/>
                </a:lnTo>
                <a:lnTo>
                  <a:pt x="9604" y="18019"/>
                </a:lnTo>
                <a:cubicBezTo>
                  <a:pt x="12086" y="18019"/>
                  <a:pt x="14408" y="17083"/>
                  <a:pt x="16131" y="15394"/>
                </a:cubicBezTo>
                <a:cubicBezTo>
                  <a:pt x="17859" y="13699"/>
                  <a:pt x="18806" y="11431"/>
                  <a:pt x="18806" y="9010"/>
                </a:cubicBezTo>
                <a:cubicBezTo>
                  <a:pt x="18806" y="4040"/>
                  <a:pt x="14766" y="0"/>
                  <a:pt x="9796" y="0"/>
                </a:cubicBezTo>
                <a:close/>
              </a:path>
            </a:pathLst>
          </a:custGeom>
          <a:solidFill>
            <a:srgbClr val="F28080"/>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77;p20">
            <a:extLst>
              <a:ext uri="{FF2B5EF4-FFF2-40B4-BE49-F238E27FC236}">
                <a16:creationId xmlns:a16="http://schemas.microsoft.com/office/drawing/2014/main" id="{97AA05FE-CC69-4C7C-9E9B-96137BF91D2D}"/>
              </a:ext>
            </a:extLst>
          </p:cNvPr>
          <p:cNvSpPr/>
          <p:nvPr/>
        </p:nvSpPr>
        <p:spPr>
          <a:xfrm>
            <a:off x="3397971" y="1657616"/>
            <a:ext cx="2698057" cy="1421587"/>
          </a:xfrm>
          <a:custGeom>
            <a:avLst/>
            <a:gdLst/>
            <a:ahLst/>
            <a:cxnLst/>
            <a:rect l="l" t="t" r="r" b="b"/>
            <a:pathLst>
              <a:path w="34210" h="18025" extrusionOk="0">
                <a:moveTo>
                  <a:pt x="9015" y="1"/>
                </a:moveTo>
                <a:cubicBezTo>
                  <a:pt x="4045" y="1"/>
                  <a:pt x="0" y="4040"/>
                  <a:pt x="0" y="9010"/>
                </a:cubicBezTo>
                <a:cubicBezTo>
                  <a:pt x="0" y="13979"/>
                  <a:pt x="4045" y="18024"/>
                  <a:pt x="9015" y="18024"/>
                </a:cubicBezTo>
                <a:cubicBezTo>
                  <a:pt x="13984" y="18024"/>
                  <a:pt x="18024" y="13979"/>
                  <a:pt x="18024" y="9010"/>
                </a:cubicBezTo>
                <a:lnTo>
                  <a:pt x="14700" y="9010"/>
                </a:lnTo>
                <a:cubicBezTo>
                  <a:pt x="14700" y="12147"/>
                  <a:pt x="12146" y="14695"/>
                  <a:pt x="9015" y="14695"/>
                </a:cubicBezTo>
                <a:cubicBezTo>
                  <a:pt x="5878" y="14695"/>
                  <a:pt x="3330" y="12147"/>
                  <a:pt x="3330" y="9010"/>
                </a:cubicBezTo>
                <a:cubicBezTo>
                  <a:pt x="3330" y="5878"/>
                  <a:pt x="5878" y="3325"/>
                  <a:pt x="9015" y="3325"/>
                </a:cubicBezTo>
                <a:lnTo>
                  <a:pt x="34210" y="3325"/>
                </a:lnTo>
                <a:lnTo>
                  <a:pt x="34210" y="1"/>
                </a:lnTo>
                <a:close/>
              </a:path>
            </a:pathLst>
          </a:custGeom>
          <a:solidFill>
            <a:srgbClr val="F29F05"/>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78;p20">
            <a:extLst>
              <a:ext uri="{FF2B5EF4-FFF2-40B4-BE49-F238E27FC236}">
                <a16:creationId xmlns:a16="http://schemas.microsoft.com/office/drawing/2014/main" id="{D6AC24FA-A3D5-41A2-A5A3-13DFE9B4A5EC}"/>
              </a:ext>
            </a:extLst>
          </p:cNvPr>
          <p:cNvSpPr/>
          <p:nvPr/>
        </p:nvSpPr>
        <p:spPr>
          <a:xfrm>
            <a:off x="6096018" y="1657619"/>
            <a:ext cx="4572000" cy="262200"/>
          </a:xfrm>
          <a:prstGeom prst="rect">
            <a:avLst/>
          </a:prstGeom>
          <a:solidFill>
            <a:srgbClr val="F29F05"/>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5004610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BB81C6C-7860-4DF0-8C2C-CCE438B46060}"/>
              </a:ext>
            </a:extLst>
          </p:cNvPr>
          <p:cNvSpPr>
            <a:spLocks noGrp="1"/>
          </p:cNvSpPr>
          <p:nvPr>
            <p:ph type="body" sz="quarter" idx="11"/>
          </p:nvPr>
        </p:nvSpPr>
        <p:spPr/>
        <p:txBody>
          <a:bodyPr/>
          <a:lstStyle/>
          <a:p>
            <a:pPr algn="l" fontAlgn="base"/>
            <a:r>
              <a:rPr lang="en-US" b="0" i="0" dirty="0">
                <a:solidFill>
                  <a:srgbClr val="273239"/>
                </a:solidFill>
                <a:effectLst/>
              </a:rPr>
              <a:t>The Big bang model is an SDLC model does not require any planning. It is the simplest SDLC model. The budget and timeline requirement for </a:t>
            </a:r>
            <a:r>
              <a:rPr lang="en-US" dirty="0">
                <a:solidFill>
                  <a:srgbClr val="273239"/>
                </a:solidFill>
              </a:rPr>
              <a:t>Big Bang model projects are huge. </a:t>
            </a:r>
            <a:r>
              <a:rPr lang="en-US" b="0" i="0" dirty="0">
                <a:solidFill>
                  <a:srgbClr val="273239"/>
                </a:solidFill>
                <a:effectLst/>
              </a:rPr>
              <a:t>The name big bang model was set after the “Great Big Bang” which led to the development of galaxies, stars, planets, etc. </a:t>
            </a:r>
          </a:p>
          <a:p>
            <a:pPr algn="l" fontAlgn="base"/>
            <a:r>
              <a:rPr lang="en-US" b="0" i="0" dirty="0">
                <a:solidFill>
                  <a:srgbClr val="273239"/>
                </a:solidFill>
                <a:effectLst/>
              </a:rPr>
              <a:t>In order to build a project , Big Bang model combines time, efforts, and resources. The result might not match the customer expectation due to lack of planning and improvements.</a:t>
            </a:r>
          </a:p>
          <a:p>
            <a:pPr marL="0" indent="0">
              <a:buNone/>
            </a:pPr>
            <a:endParaRPr lang="en-IN" dirty="0"/>
          </a:p>
        </p:txBody>
      </p:sp>
      <p:sp>
        <p:nvSpPr>
          <p:cNvPr id="2" name="Title 1">
            <a:extLst>
              <a:ext uri="{FF2B5EF4-FFF2-40B4-BE49-F238E27FC236}">
                <a16:creationId xmlns:a16="http://schemas.microsoft.com/office/drawing/2014/main" id="{727D3D7D-D750-4F8E-B6DE-6011B02203E5}"/>
              </a:ext>
            </a:extLst>
          </p:cNvPr>
          <p:cNvSpPr>
            <a:spLocks noGrp="1"/>
          </p:cNvSpPr>
          <p:nvPr>
            <p:ph type="title"/>
          </p:nvPr>
        </p:nvSpPr>
        <p:spPr/>
        <p:txBody>
          <a:bodyPr/>
          <a:lstStyle/>
          <a:p>
            <a:r>
              <a:rPr lang="en-US" dirty="0"/>
              <a:t>Big Bang Model</a:t>
            </a:r>
            <a:endParaRPr lang="en-IN" dirty="0"/>
          </a:p>
        </p:txBody>
      </p:sp>
      <p:graphicFrame>
        <p:nvGraphicFramePr>
          <p:cNvPr id="4" name="Diagram 3">
            <a:extLst>
              <a:ext uri="{FF2B5EF4-FFF2-40B4-BE49-F238E27FC236}">
                <a16:creationId xmlns:a16="http://schemas.microsoft.com/office/drawing/2014/main" id="{40A36C3F-EB75-4D5A-9AC1-E85ED87545A7}"/>
              </a:ext>
            </a:extLst>
          </p:cNvPr>
          <p:cNvGraphicFramePr/>
          <p:nvPr>
            <p:extLst>
              <p:ext uri="{D42A27DB-BD31-4B8C-83A1-F6EECF244321}">
                <p14:modId xmlns:p14="http://schemas.microsoft.com/office/powerpoint/2010/main" val="672984734"/>
              </p:ext>
            </p:extLst>
          </p:nvPr>
        </p:nvGraphicFramePr>
        <p:xfrm>
          <a:off x="1080019" y="2691535"/>
          <a:ext cx="6044682" cy="44215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Rounded Corners 4">
            <a:extLst>
              <a:ext uri="{FF2B5EF4-FFF2-40B4-BE49-F238E27FC236}">
                <a16:creationId xmlns:a16="http://schemas.microsoft.com/office/drawing/2014/main" id="{2187D803-BC33-4AB3-B396-2EBD1C386102}"/>
              </a:ext>
            </a:extLst>
          </p:cNvPr>
          <p:cNvSpPr/>
          <p:nvPr/>
        </p:nvSpPr>
        <p:spPr>
          <a:xfrm>
            <a:off x="7258242" y="4564955"/>
            <a:ext cx="1200194" cy="102161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oftware Product</a:t>
            </a:r>
            <a:endParaRPr lang="en-IN" dirty="0"/>
          </a:p>
        </p:txBody>
      </p:sp>
      <p:sp>
        <p:nvSpPr>
          <p:cNvPr id="6" name="Oval 5">
            <a:extLst>
              <a:ext uri="{FF2B5EF4-FFF2-40B4-BE49-F238E27FC236}">
                <a16:creationId xmlns:a16="http://schemas.microsoft.com/office/drawing/2014/main" id="{AB0608A6-AE53-41C6-9D9F-9C15CCC898E3}"/>
              </a:ext>
            </a:extLst>
          </p:cNvPr>
          <p:cNvSpPr/>
          <p:nvPr/>
        </p:nvSpPr>
        <p:spPr>
          <a:xfrm>
            <a:off x="8624055" y="4908761"/>
            <a:ext cx="346964" cy="347244"/>
          </a:xfrm>
          <a:prstGeom prst="ellips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Oval 6">
            <a:extLst>
              <a:ext uri="{FF2B5EF4-FFF2-40B4-BE49-F238E27FC236}">
                <a16:creationId xmlns:a16="http://schemas.microsoft.com/office/drawing/2014/main" id="{E0629095-33D0-419B-9A9F-D6690DDB0F92}"/>
              </a:ext>
            </a:extLst>
          </p:cNvPr>
          <p:cNvSpPr/>
          <p:nvPr/>
        </p:nvSpPr>
        <p:spPr>
          <a:xfrm>
            <a:off x="9740255" y="4989021"/>
            <a:ext cx="173482" cy="173479"/>
          </a:xfrm>
          <a:prstGeom prst="ellips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Oval 7">
            <a:extLst>
              <a:ext uri="{FF2B5EF4-FFF2-40B4-BE49-F238E27FC236}">
                <a16:creationId xmlns:a16="http://schemas.microsoft.com/office/drawing/2014/main" id="{E902FDD2-7AA4-4AB3-A17B-4DEABB0245ED}"/>
              </a:ext>
            </a:extLst>
          </p:cNvPr>
          <p:cNvSpPr/>
          <p:nvPr/>
        </p:nvSpPr>
        <p:spPr>
          <a:xfrm>
            <a:off x="9462678" y="4995643"/>
            <a:ext cx="173482" cy="173479"/>
          </a:xfrm>
          <a:prstGeom prst="ellips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Oval 8">
            <a:extLst>
              <a:ext uri="{FF2B5EF4-FFF2-40B4-BE49-F238E27FC236}">
                <a16:creationId xmlns:a16="http://schemas.microsoft.com/office/drawing/2014/main" id="{B2C1F661-0787-4789-AEDA-7F439671D4F5}"/>
              </a:ext>
            </a:extLst>
          </p:cNvPr>
          <p:cNvSpPr/>
          <p:nvPr/>
        </p:nvSpPr>
        <p:spPr>
          <a:xfrm>
            <a:off x="9159788" y="4995643"/>
            <a:ext cx="173482" cy="173479"/>
          </a:xfrm>
          <a:prstGeom prst="ellips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Oval 9">
            <a:extLst>
              <a:ext uri="{FF2B5EF4-FFF2-40B4-BE49-F238E27FC236}">
                <a16:creationId xmlns:a16="http://schemas.microsoft.com/office/drawing/2014/main" id="{E40A35F8-FACB-4B21-A941-19353B0AA1AF}"/>
              </a:ext>
            </a:extLst>
          </p:cNvPr>
          <p:cNvSpPr/>
          <p:nvPr/>
        </p:nvSpPr>
        <p:spPr>
          <a:xfrm>
            <a:off x="9645608" y="4549017"/>
            <a:ext cx="186268" cy="186265"/>
          </a:xfrm>
          <a:prstGeom prst="ellips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Oval 10">
            <a:extLst>
              <a:ext uri="{FF2B5EF4-FFF2-40B4-BE49-F238E27FC236}">
                <a16:creationId xmlns:a16="http://schemas.microsoft.com/office/drawing/2014/main" id="{D6189F38-2D80-4D89-80E5-BE3152A8FA8E}"/>
              </a:ext>
            </a:extLst>
          </p:cNvPr>
          <p:cNvSpPr/>
          <p:nvPr/>
        </p:nvSpPr>
        <p:spPr>
          <a:xfrm>
            <a:off x="9842333" y="4764176"/>
            <a:ext cx="173482" cy="173479"/>
          </a:xfrm>
          <a:prstGeom prst="ellips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Oval 11">
            <a:extLst>
              <a:ext uri="{FF2B5EF4-FFF2-40B4-BE49-F238E27FC236}">
                <a16:creationId xmlns:a16="http://schemas.microsoft.com/office/drawing/2014/main" id="{A3F1AF04-6476-4ADA-91D4-3185B9517974}"/>
              </a:ext>
            </a:extLst>
          </p:cNvPr>
          <p:cNvSpPr/>
          <p:nvPr/>
        </p:nvSpPr>
        <p:spPr>
          <a:xfrm>
            <a:off x="10015765" y="4995643"/>
            <a:ext cx="173482" cy="173479"/>
          </a:xfrm>
          <a:prstGeom prst="ellips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Oval 13">
            <a:extLst>
              <a:ext uri="{FF2B5EF4-FFF2-40B4-BE49-F238E27FC236}">
                <a16:creationId xmlns:a16="http://schemas.microsoft.com/office/drawing/2014/main" id="{D25B9D23-DE23-4803-85D8-0EB9CCC15648}"/>
              </a:ext>
            </a:extLst>
          </p:cNvPr>
          <p:cNvSpPr/>
          <p:nvPr/>
        </p:nvSpPr>
        <p:spPr>
          <a:xfrm>
            <a:off x="9913737" y="5260879"/>
            <a:ext cx="173482" cy="173479"/>
          </a:xfrm>
          <a:prstGeom prst="ellips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Oval 14">
            <a:extLst>
              <a:ext uri="{FF2B5EF4-FFF2-40B4-BE49-F238E27FC236}">
                <a16:creationId xmlns:a16="http://schemas.microsoft.com/office/drawing/2014/main" id="{8BF5A4F7-7981-4F46-B3E8-E231A75C5A31}"/>
              </a:ext>
            </a:extLst>
          </p:cNvPr>
          <p:cNvSpPr/>
          <p:nvPr/>
        </p:nvSpPr>
        <p:spPr>
          <a:xfrm>
            <a:off x="9738742" y="5479590"/>
            <a:ext cx="173482" cy="173479"/>
          </a:xfrm>
          <a:prstGeom prst="ellips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Rectangle: Rounded Corners 15">
            <a:extLst>
              <a:ext uri="{FF2B5EF4-FFF2-40B4-BE49-F238E27FC236}">
                <a16:creationId xmlns:a16="http://schemas.microsoft.com/office/drawing/2014/main" id="{221808D7-DB06-42BE-8224-71F7B328AFEA}"/>
              </a:ext>
            </a:extLst>
          </p:cNvPr>
          <p:cNvSpPr/>
          <p:nvPr/>
        </p:nvSpPr>
        <p:spPr>
          <a:xfrm>
            <a:off x="10316369" y="4541448"/>
            <a:ext cx="1200194" cy="102161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lease</a:t>
            </a:r>
            <a:endParaRPr lang="en-IN" dirty="0"/>
          </a:p>
        </p:txBody>
      </p:sp>
    </p:spTree>
    <p:extLst>
      <p:ext uri="{BB962C8B-B14F-4D97-AF65-F5344CB8AC3E}">
        <p14:creationId xmlns:p14="http://schemas.microsoft.com/office/powerpoint/2010/main" val="11596096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0960D-44CD-4723-841C-5A7A539A2B65}"/>
              </a:ext>
            </a:extLst>
          </p:cNvPr>
          <p:cNvSpPr>
            <a:spLocks noGrp="1"/>
          </p:cNvSpPr>
          <p:nvPr>
            <p:ph type="title"/>
          </p:nvPr>
        </p:nvSpPr>
        <p:spPr>
          <a:xfrm>
            <a:off x="403860" y="-68580"/>
            <a:ext cx="10515600" cy="1325563"/>
          </a:xfrm>
        </p:spPr>
        <p:txBody>
          <a:bodyPr/>
          <a:lstStyle/>
          <a:p>
            <a:r>
              <a:rPr lang="en-US" sz="3200" b="1">
                <a:latin typeface="+mn-lt"/>
              </a:rPr>
              <a:t>Iterative Model</a:t>
            </a:r>
            <a:endParaRPr lang="en-IN" sz="3200" b="1" dirty="0">
              <a:latin typeface="+mn-lt"/>
            </a:endParaRPr>
          </a:p>
        </p:txBody>
      </p:sp>
      <p:sp>
        <p:nvSpPr>
          <p:cNvPr id="3" name="Text Placeholder 2">
            <a:extLst>
              <a:ext uri="{FF2B5EF4-FFF2-40B4-BE49-F238E27FC236}">
                <a16:creationId xmlns:a16="http://schemas.microsoft.com/office/drawing/2014/main" id="{314EC162-C4BE-401B-AC0C-B9A7B71CC787}"/>
              </a:ext>
            </a:extLst>
          </p:cNvPr>
          <p:cNvSpPr txBox="1">
            <a:spLocks/>
          </p:cNvSpPr>
          <p:nvPr/>
        </p:nvSpPr>
        <p:spPr>
          <a:xfrm>
            <a:off x="403860" y="1104900"/>
            <a:ext cx="10287000" cy="5086350"/>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dirty="0"/>
          </a:p>
        </p:txBody>
      </p:sp>
      <p:sp>
        <p:nvSpPr>
          <p:cNvPr id="5" name="TextBox 4">
            <a:extLst>
              <a:ext uri="{FF2B5EF4-FFF2-40B4-BE49-F238E27FC236}">
                <a16:creationId xmlns:a16="http://schemas.microsoft.com/office/drawing/2014/main" id="{D5CDDABC-26BA-482A-A3A3-9E7D72FA513D}"/>
              </a:ext>
            </a:extLst>
          </p:cNvPr>
          <p:cNvSpPr txBox="1"/>
          <p:nvPr/>
        </p:nvSpPr>
        <p:spPr>
          <a:xfrm>
            <a:off x="403860" y="994410"/>
            <a:ext cx="10934700" cy="984885"/>
          </a:xfrm>
          <a:prstGeom prst="rect">
            <a:avLst/>
          </a:prstGeom>
          <a:noFill/>
        </p:spPr>
        <p:txBody>
          <a:bodyPr wrap="square" rtlCol="0">
            <a:spAutoFit/>
          </a:bodyPr>
          <a:lstStyle/>
          <a:p>
            <a:r>
              <a:rPr lang="en-US" sz="2000" dirty="0">
                <a:solidFill>
                  <a:srgbClr val="273239"/>
                </a:solidFill>
              </a:rPr>
              <a:t>The iterative waterfall model provides feedback paths from every phase to its preceding phases. This is the main difference from the classical waterfall model</a:t>
            </a:r>
            <a:endParaRPr lang="en-IN" sz="2000" dirty="0">
              <a:solidFill>
                <a:srgbClr val="273239"/>
              </a:solidFill>
            </a:endParaRPr>
          </a:p>
          <a:p>
            <a:endParaRPr lang="en-IN" dirty="0"/>
          </a:p>
        </p:txBody>
      </p:sp>
      <p:pic>
        <p:nvPicPr>
          <p:cNvPr id="2052" name="Picture 4">
            <a:extLst>
              <a:ext uri="{FF2B5EF4-FFF2-40B4-BE49-F238E27FC236}">
                <a16:creationId xmlns:a16="http://schemas.microsoft.com/office/drawing/2014/main" id="{C778945B-3E3F-42E1-BA1C-F842FF8B6838}"/>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85065" y="2160270"/>
            <a:ext cx="7582871" cy="426339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0DBF23B5-8E2D-45C7-A326-C1222A124E10}"/>
              </a:ext>
            </a:extLst>
          </p:cNvPr>
          <p:cNvSpPr txBox="1"/>
          <p:nvPr/>
        </p:nvSpPr>
        <p:spPr>
          <a:xfrm>
            <a:off x="403860" y="1866046"/>
            <a:ext cx="6097904" cy="1015663"/>
          </a:xfrm>
          <a:prstGeom prst="rect">
            <a:avLst/>
          </a:prstGeom>
          <a:noFill/>
        </p:spPr>
        <p:txBody>
          <a:bodyPr wrap="square">
            <a:spAutoFit/>
          </a:bodyPr>
          <a:lstStyle/>
          <a:p>
            <a:r>
              <a:rPr lang="en-US" sz="2000" dirty="0">
                <a:solidFill>
                  <a:srgbClr val="273239"/>
                </a:solidFill>
              </a:rPr>
              <a:t>Feedback paths allow correcting errors </a:t>
            </a:r>
          </a:p>
          <a:p>
            <a:r>
              <a:rPr lang="en-US" sz="2000" dirty="0">
                <a:solidFill>
                  <a:srgbClr val="273239"/>
                </a:solidFill>
              </a:rPr>
              <a:t>committed by programmers during </a:t>
            </a:r>
          </a:p>
          <a:p>
            <a:r>
              <a:rPr lang="en-US" sz="2000" dirty="0">
                <a:solidFill>
                  <a:srgbClr val="273239"/>
                </a:solidFill>
              </a:rPr>
              <a:t>any of the phase.</a:t>
            </a:r>
            <a:endParaRPr lang="en-IN" sz="2000" dirty="0">
              <a:solidFill>
                <a:srgbClr val="273239"/>
              </a:solidFill>
            </a:endParaRPr>
          </a:p>
        </p:txBody>
      </p:sp>
      <p:sp>
        <p:nvSpPr>
          <p:cNvPr id="12" name="TextBox 11">
            <a:extLst>
              <a:ext uri="{FF2B5EF4-FFF2-40B4-BE49-F238E27FC236}">
                <a16:creationId xmlns:a16="http://schemas.microsoft.com/office/drawing/2014/main" id="{D6AA8CE9-4857-4B57-837B-EBD29E3F1489}"/>
              </a:ext>
            </a:extLst>
          </p:cNvPr>
          <p:cNvSpPr txBox="1"/>
          <p:nvPr/>
        </p:nvSpPr>
        <p:spPr>
          <a:xfrm>
            <a:off x="403860" y="2937302"/>
            <a:ext cx="6097904" cy="2246769"/>
          </a:xfrm>
          <a:prstGeom prst="rect">
            <a:avLst/>
          </a:prstGeom>
          <a:noFill/>
        </p:spPr>
        <p:txBody>
          <a:bodyPr wrap="square">
            <a:spAutoFit/>
          </a:bodyPr>
          <a:lstStyle/>
          <a:p>
            <a:r>
              <a:rPr lang="en-US" sz="2000" b="1" dirty="0">
                <a:solidFill>
                  <a:srgbClr val="273239"/>
                </a:solidFill>
              </a:rPr>
              <a:t>Pros</a:t>
            </a:r>
            <a:r>
              <a:rPr lang="en-US" sz="2000" dirty="0">
                <a:solidFill>
                  <a:srgbClr val="273239"/>
                </a:solidFill>
              </a:rPr>
              <a:t>:</a:t>
            </a:r>
          </a:p>
          <a:p>
            <a:r>
              <a:rPr lang="en-US" sz="2000" dirty="0">
                <a:solidFill>
                  <a:srgbClr val="273239"/>
                </a:solidFill>
              </a:rPr>
              <a:t>Possible defects are spotted and dealt </a:t>
            </a:r>
          </a:p>
          <a:p>
            <a:r>
              <a:rPr lang="en-US" sz="2000" dirty="0">
                <a:solidFill>
                  <a:srgbClr val="273239"/>
                </a:solidFill>
              </a:rPr>
              <a:t>early</a:t>
            </a:r>
          </a:p>
          <a:p>
            <a:r>
              <a:rPr lang="en-US" sz="2000" dirty="0">
                <a:solidFill>
                  <a:srgbClr val="273239"/>
                </a:solidFill>
              </a:rPr>
              <a:t>Functional prototypes are developed</a:t>
            </a:r>
          </a:p>
          <a:p>
            <a:r>
              <a:rPr lang="en-US" sz="2000" dirty="0">
                <a:solidFill>
                  <a:srgbClr val="273239"/>
                </a:solidFill>
              </a:rPr>
              <a:t> early in the project life cycle</a:t>
            </a:r>
          </a:p>
          <a:p>
            <a:r>
              <a:rPr lang="en-US" sz="2000" dirty="0">
                <a:solidFill>
                  <a:srgbClr val="273239"/>
                </a:solidFill>
              </a:rPr>
              <a:t>Less time is spent on documenting and </a:t>
            </a:r>
          </a:p>
          <a:p>
            <a:r>
              <a:rPr lang="en-US" sz="2000" dirty="0">
                <a:solidFill>
                  <a:srgbClr val="273239"/>
                </a:solidFill>
              </a:rPr>
              <a:t>more on designing</a:t>
            </a:r>
            <a:endParaRPr lang="en-IN" sz="2000" dirty="0">
              <a:solidFill>
                <a:srgbClr val="273239"/>
              </a:solidFill>
            </a:endParaRPr>
          </a:p>
        </p:txBody>
      </p:sp>
      <p:sp>
        <p:nvSpPr>
          <p:cNvPr id="13" name="TextBox 12">
            <a:extLst>
              <a:ext uri="{FF2B5EF4-FFF2-40B4-BE49-F238E27FC236}">
                <a16:creationId xmlns:a16="http://schemas.microsoft.com/office/drawing/2014/main" id="{DC2A590B-88EB-4EF3-B2B8-C402752CAA05}"/>
              </a:ext>
            </a:extLst>
          </p:cNvPr>
          <p:cNvSpPr txBox="1"/>
          <p:nvPr/>
        </p:nvSpPr>
        <p:spPr>
          <a:xfrm>
            <a:off x="403860" y="5169097"/>
            <a:ext cx="6097904" cy="1631216"/>
          </a:xfrm>
          <a:prstGeom prst="rect">
            <a:avLst/>
          </a:prstGeom>
          <a:noFill/>
        </p:spPr>
        <p:txBody>
          <a:bodyPr wrap="square">
            <a:spAutoFit/>
          </a:bodyPr>
          <a:lstStyle/>
          <a:p>
            <a:r>
              <a:rPr lang="en-US" sz="2000" b="1" dirty="0">
                <a:solidFill>
                  <a:srgbClr val="273239"/>
                </a:solidFill>
              </a:rPr>
              <a:t>Cons</a:t>
            </a:r>
            <a:r>
              <a:rPr lang="en-US" sz="2000" dirty="0">
                <a:solidFill>
                  <a:srgbClr val="273239"/>
                </a:solidFill>
              </a:rPr>
              <a:t>:</a:t>
            </a:r>
          </a:p>
          <a:p>
            <a:r>
              <a:rPr lang="en-US" sz="2000" dirty="0">
                <a:solidFill>
                  <a:srgbClr val="273239"/>
                </a:solidFill>
              </a:rPr>
              <a:t>Intensive project management with more </a:t>
            </a:r>
          </a:p>
          <a:p>
            <a:r>
              <a:rPr lang="en-US" sz="2000" dirty="0">
                <a:solidFill>
                  <a:srgbClr val="273239"/>
                </a:solidFill>
              </a:rPr>
              <a:t>resources may be required</a:t>
            </a:r>
          </a:p>
          <a:p>
            <a:r>
              <a:rPr lang="en-US" sz="2000" dirty="0">
                <a:solidFill>
                  <a:srgbClr val="273239"/>
                </a:solidFill>
              </a:rPr>
              <a:t>lack of a full requirements specification </a:t>
            </a:r>
          </a:p>
          <a:p>
            <a:r>
              <a:rPr lang="en-US" sz="2000" dirty="0">
                <a:solidFill>
                  <a:srgbClr val="273239"/>
                </a:solidFill>
              </a:rPr>
              <a:t>for the entire system</a:t>
            </a:r>
            <a:endParaRPr lang="en-IN" sz="2000" dirty="0">
              <a:solidFill>
                <a:srgbClr val="273239"/>
              </a:solidFill>
            </a:endParaRPr>
          </a:p>
        </p:txBody>
      </p:sp>
    </p:spTree>
    <p:extLst>
      <p:ext uri="{BB962C8B-B14F-4D97-AF65-F5344CB8AC3E}">
        <p14:creationId xmlns:p14="http://schemas.microsoft.com/office/powerpoint/2010/main" val="4359265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2"/>
                                        </p:tgtEl>
                                        <p:attrNameLst>
                                          <p:attrName>style.visibility</p:attrName>
                                        </p:attrNameLst>
                                      </p:cBhvr>
                                      <p:to>
                                        <p:strVal val="visible"/>
                                      </p:to>
                                    </p:set>
                                    <p:anim calcmode="lin" valueType="num">
                                      <p:cBhvr additive="base">
                                        <p:cTn id="7" dur="500" fill="hold"/>
                                        <p:tgtEl>
                                          <p:spTgt spid="2052"/>
                                        </p:tgtEl>
                                        <p:attrNameLst>
                                          <p:attrName>ppt_x</p:attrName>
                                        </p:attrNameLst>
                                      </p:cBhvr>
                                      <p:tavLst>
                                        <p:tav tm="0">
                                          <p:val>
                                            <p:strVal val="#ppt_x"/>
                                          </p:val>
                                        </p:tav>
                                        <p:tav tm="100000">
                                          <p:val>
                                            <p:strVal val="#ppt_x"/>
                                          </p:val>
                                        </p:tav>
                                      </p:tavLst>
                                    </p:anim>
                                    <p:anim calcmode="lin" valueType="num">
                                      <p:cBhvr additive="base">
                                        <p:cTn id="8" dur="500" fill="hold"/>
                                        <p:tgtEl>
                                          <p:spTgt spid="205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0960D-44CD-4723-841C-5A7A539A2B65}"/>
              </a:ext>
            </a:extLst>
          </p:cNvPr>
          <p:cNvSpPr>
            <a:spLocks noGrp="1"/>
          </p:cNvSpPr>
          <p:nvPr>
            <p:ph type="title"/>
          </p:nvPr>
        </p:nvSpPr>
        <p:spPr>
          <a:xfrm>
            <a:off x="403860" y="-68580"/>
            <a:ext cx="10515600" cy="1325563"/>
          </a:xfrm>
        </p:spPr>
        <p:txBody>
          <a:bodyPr/>
          <a:lstStyle/>
          <a:p>
            <a:r>
              <a:rPr lang="en-US" sz="3200" b="1" dirty="0">
                <a:latin typeface="+mn-lt"/>
              </a:rPr>
              <a:t>Incremental Model</a:t>
            </a:r>
            <a:endParaRPr lang="en-IN" sz="3200" b="1" dirty="0">
              <a:latin typeface="+mn-lt"/>
            </a:endParaRPr>
          </a:p>
        </p:txBody>
      </p:sp>
      <p:sp>
        <p:nvSpPr>
          <p:cNvPr id="3" name="Text Placeholder 2">
            <a:extLst>
              <a:ext uri="{FF2B5EF4-FFF2-40B4-BE49-F238E27FC236}">
                <a16:creationId xmlns:a16="http://schemas.microsoft.com/office/drawing/2014/main" id="{314EC162-C4BE-401B-AC0C-B9A7B71CC787}"/>
              </a:ext>
            </a:extLst>
          </p:cNvPr>
          <p:cNvSpPr txBox="1">
            <a:spLocks/>
          </p:cNvSpPr>
          <p:nvPr/>
        </p:nvSpPr>
        <p:spPr>
          <a:xfrm>
            <a:off x="403860" y="1104900"/>
            <a:ext cx="10287000" cy="5086350"/>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dirty="0"/>
          </a:p>
        </p:txBody>
      </p:sp>
      <p:sp>
        <p:nvSpPr>
          <p:cNvPr id="5" name="TextBox 4">
            <a:extLst>
              <a:ext uri="{FF2B5EF4-FFF2-40B4-BE49-F238E27FC236}">
                <a16:creationId xmlns:a16="http://schemas.microsoft.com/office/drawing/2014/main" id="{D5CDDABC-26BA-482A-A3A3-9E7D72FA513D}"/>
              </a:ext>
            </a:extLst>
          </p:cNvPr>
          <p:cNvSpPr txBox="1"/>
          <p:nvPr/>
        </p:nvSpPr>
        <p:spPr>
          <a:xfrm>
            <a:off x="403860" y="994410"/>
            <a:ext cx="10934700" cy="707886"/>
          </a:xfrm>
          <a:prstGeom prst="rect">
            <a:avLst/>
          </a:prstGeom>
          <a:noFill/>
        </p:spPr>
        <p:txBody>
          <a:bodyPr wrap="square" rtlCol="0">
            <a:spAutoFit/>
          </a:bodyPr>
          <a:lstStyle/>
          <a:p>
            <a:r>
              <a:rPr lang="en-US" sz="2000" dirty="0">
                <a:solidFill>
                  <a:srgbClr val="273239"/>
                </a:solidFill>
              </a:rPr>
              <a:t>The product is </a:t>
            </a:r>
            <a:r>
              <a:rPr lang="en-US" sz="2000" dirty="0">
                <a:solidFill>
                  <a:srgbClr val="273239"/>
                </a:solidFill>
                <a:hlinkClick r:id="rId3">
                  <a:extLst>
                    <a:ext uri="{A12FA001-AC4F-418D-AE19-62706E023703}">
                      <ahyp:hlinkClr xmlns:ahyp="http://schemas.microsoft.com/office/drawing/2018/hyperlinkcolor" val="tx"/>
                    </a:ext>
                  </a:extLst>
                </a:hlinkClick>
              </a:rPr>
              <a:t>designed</a:t>
            </a:r>
            <a:r>
              <a:rPr lang="en-US" sz="2000" dirty="0">
                <a:solidFill>
                  <a:srgbClr val="273239"/>
                </a:solidFill>
              </a:rPr>
              <a:t>, implemented and </a:t>
            </a:r>
            <a:r>
              <a:rPr lang="en-US" sz="2000" dirty="0">
                <a:solidFill>
                  <a:srgbClr val="273239"/>
                </a:solidFill>
                <a:hlinkClick r:id="rId4" tooltip="Software testing">
                  <a:extLst>
                    <a:ext uri="{A12FA001-AC4F-418D-AE19-62706E023703}">
                      <ahyp:hlinkClr xmlns:ahyp="http://schemas.microsoft.com/office/drawing/2018/hyperlinkcolor" val="tx"/>
                    </a:ext>
                  </a:extLst>
                </a:hlinkClick>
              </a:rPr>
              <a:t>tested</a:t>
            </a:r>
            <a:r>
              <a:rPr lang="en-US" sz="2000" dirty="0">
                <a:solidFill>
                  <a:srgbClr val="273239"/>
                </a:solidFill>
              </a:rPr>
              <a:t> incrementally (a little more is added each time) until the product is finished. It involves both development and maintenance</a:t>
            </a:r>
            <a:endParaRPr lang="en-IN" sz="2000" dirty="0">
              <a:solidFill>
                <a:srgbClr val="273239"/>
              </a:solidFill>
            </a:endParaRPr>
          </a:p>
        </p:txBody>
      </p:sp>
      <p:sp>
        <p:nvSpPr>
          <p:cNvPr id="8" name="TextBox 7">
            <a:extLst>
              <a:ext uri="{FF2B5EF4-FFF2-40B4-BE49-F238E27FC236}">
                <a16:creationId xmlns:a16="http://schemas.microsoft.com/office/drawing/2014/main" id="{EFF539BB-854D-43A0-A63D-5FEC21E931E5}"/>
              </a:ext>
            </a:extLst>
          </p:cNvPr>
          <p:cNvSpPr txBox="1"/>
          <p:nvPr/>
        </p:nvSpPr>
        <p:spPr>
          <a:xfrm>
            <a:off x="464820" y="1615421"/>
            <a:ext cx="4198620" cy="1938992"/>
          </a:xfrm>
          <a:prstGeom prst="rect">
            <a:avLst/>
          </a:prstGeom>
          <a:noFill/>
        </p:spPr>
        <p:txBody>
          <a:bodyPr wrap="square">
            <a:spAutoFit/>
          </a:bodyPr>
          <a:lstStyle/>
          <a:p>
            <a:r>
              <a:rPr lang="en-US" sz="2000" dirty="0">
                <a:solidFill>
                  <a:srgbClr val="273239"/>
                </a:solidFill>
              </a:rPr>
              <a:t>The product is defined as finished </a:t>
            </a:r>
          </a:p>
          <a:p>
            <a:r>
              <a:rPr lang="en-US" sz="2000" dirty="0">
                <a:solidFill>
                  <a:srgbClr val="273239"/>
                </a:solidFill>
              </a:rPr>
              <a:t>when it satisfies all of its requirements. </a:t>
            </a:r>
          </a:p>
          <a:p>
            <a:r>
              <a:rPr lang="en-US" sz="2000" dirty="0">
                <a:solidFill>
                  <a:srgbClr val="273239"/>
                </a:solidFill>
              </a:rPr>
              <a:t>This model combines the elements of</a:t>
            </a:r>
          </a:p>
          <a:p>
            <a:r>
              <a:rPr lang="en-US" sz="2000" dirty="0">
                <a:solidFill>
                  <a:srgbClr val="273239"/>
                </a:solidFill>
              </a:rPr>
              <a:t> the </a:t>
            </a:r>
            <a:r>
              <a:rPr lang="en-US" sz="2000" dirty="0">
                <a:solidFill>
                  <a:srgbClr val="273239"/>
                </a:solidFill>
                <a:hlinkClick r:id="rId5" tooltip="Waterfall model">
                  <a:extLst>
                    <a:ext uri="{A12FA001-AC4F-418D-AE19-62706E023703}">
                      <ahyp:hlinkClr xmlns:ahyp="http://schemas.microsoft.com/office/drawing/2018/hyperlinkcolor" val="tx"/>
                    </a:ext>
                  </a:extLst>
                </a:hlinkClick>
              </a:rPr>
              <a:t>waterfall model</a:t>
            </a:r>
            <a:r>
              <a:rPr lang="en-US" sz="2000" dirty="0">
                <a:solidFill>
                  <a:srgbClr val="273239"/>
                </a:solidFill>
              </a:rPr>
              <a:t> with the iterative</a:t>
            </a:r>
          </a:p>
          <a:p>
            <a:r>
              <a:rPr lang="en-US" sz="2000" dirty="0">
                <a:solidFill>
                  <a:srgbClr val="273239"/>
                </a:solidFill>
              </a:rPr>
              <a:t> philosophy of </a:t>
            </a:r>
            <a:r>
              <a:rPr lang="en-US" sz="2000" dirty="0">
                <a:solidFill>
                  <a:srgbClr val="273239"/>
                </a:solidFill>
                <a:hlinkClick r:id="rId6" tooltip="Software prototyping">
                  <a:extLst>
                    <a:ext uri="{A12FA001-AC4F-418D-AE19-62706E023703}">
                      <ahyp:hlinkClr xmlns:ahyp="http://schemas.microsoft.com/office/drawing/2018/hyperlinkcolor" val="tx"/>
                    </a:ext>
                  </a:extLst>
                </a:hlinkClick>
              </a:rPr>
              <a:t>prototyping</a:t>
            </a:r>
            <a:r>
              <a:rPr lang="en-US" sz="2000" dirty="0">
                <a:solidFill>
                  <a:srgbClr val="273239"/>
                </a:solidFill>
              </a:rPr>
              <a:t>.</a:t>
            </a:r>
            <a:endParaRPr lang="en-IN" sz="2000" dirty="0">
              <a:solidFill>
                <a:srgbClr val="273239"/>
              </a:solidFill>
            </a:endParaRPr>
          </a:p>
        </p:txBody>
      </p:sp>
      <p:pic>
        <p:nvPicPr>
          <p:cNvPr id="3074" name="Picture 2">
            <a:extLst>
              <a:ext uri="{FF2B5EF4-FFF2-40B4-BE49-F238E27FC236}">
                <a16:creationId xmlns:a16="http://schemas.microsoft.com/office/drawing/2014/main" id="{328350CF-BF06-4C91-85E1-203FDE0D2F0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02480" y="2491740"/>
            <a:ext cx="7124700" cy="381000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2308982C-5324-4A08-8000-2CAA79AAAD29}"/>
              </a:ext>
            </a:extLst>
          </p:cNvPr>
          <p:cNvSpPr txBox="1"/>
          <p:nvPr/>
        </p:nvSpPr>
        <p:spPr>
          <a:xfrm>
            <a:off x="403860" y="3648075"/>
            <a:ext cx="6097904" cy="1938992"/>
          </a:xfrm>
          <a:prstGeom prst="rect">
            <a:avLst/>
          </a:prstGeom>
          <a:noFill/>
        </p:spPr>
        <p:txBody>
          <a:bodyPr wrap="square">
            <a:spAutoFit/>
          </a:bodyPr>
          <a:lstStyle/>
          <a:p>
            <a:r>
              <a:rPr lang="en-US" sz="2000" b="1" dirty="0">
                <a:solidFill>
                  <a:srgbClr val="273239"/>
                </a:solidFill>
              </a:rPr>
              <a:t>Pros</a:t>
            </a:r>
            <a:r>
              <a:rPr lang="en-US" sz="2000" dirty="0">
                <a:solidFill>
                  <a:srgbClr val="273239"/>
                </a:solidFill>
              </a:rPr>
              <a:t>:</a:t>
            </a:r>
          </a:p>
          <a:p>
            <a:r>
              <a:rPr lang="en-US" sz="2000" dirty="0">
                <a:solidFill>
                  <a:srgbClr val="273239"/>
                </a:solidFill>
              </a:rPr>
              <a:t>Initial Delivery cost is less</a:t>
            </a:r>
          </a:p>
          <a:p>
            <a:r>
              <a:rPr lang="en-IN" sz="2000" dirty="0">
                <a:solidFill>
                  <a:srgbClr val="273239"/>
                </a:solidFill>
              </a:rPr>
              <a:t>Easy risk management as risks are </a:t>
            </a:r>
          </a:p>
          <a:p>
            <a:r>
              <a:rPr lang="en-IN" sz="2000" dirty="0">
                <a:solidFill>
                  <a:srgbClr val="273239"/>
                </a:solidFill>
              </a:rPr>
              <a:t>identified in every increment</a:t>
            </a:r>
          </a:p>
          <a:p>
            <a:endParaRPr lang="en-IN" sz="2000" dirty="0">
              <a:solidFill>
                <a:srgbClr val="273239"/>
              </a:solidFill>
            </a:endParaRPr>
          </a:p>
          <a:p>
            <a:endParaRPr lang="en-IN" sz="2000" dirty="0">
              <a:solidFill>
                <a:srgbClr val="273239"/>
              </a:solidFill>
            </a:endParaRPr>
          </a:p>
        </p:txBody>
      </p:sp>
      <p:sp>
        <p:nvSpPr>
          <p:cNvPr id="14" name="TextBox 13">
            <a:extLst>
              <a:ext uri="{FF2B5EF4-FFF2-40B4-BE49-F238E27FC236}">
                <a16:creationId xmlns:a16="http://schemas.microsoft.com/office/drawing/2014/main" id="{17C67BE2-DA40-4CBB-8199-6222866AFCC8}"/>
              </a:ext>
            </a:extLst>
          </p:cNvPr>
          <p:cNvSpPr txBox="1"/>
          <p:nvPr/>
        </p:nvSpPr>
        <p:spPr>
          <a:xfrm>
            <a:off x="403860" y="4944784"/>
            <a:ext cx="3970020" cy="1015663"/>
          </a:xfrm>
          <a:prstGeom prst="rect">
            <a:avLst/>
          </a:prstGeom>
          <a:noFill/>
        </p:spPr>
        <p:txBody>
          <a:bodyPr wrap="square">
            <a:spAutoFit/>
          </a:bodyPr>
          <a:lstStyle/>
          <a:p>
            <a:r>
              <a:rPr lang="en-US" sz="2000" b="1" dirty="0">
                <a:solidFill>
                  <a:srgbClr val="273239"/>
                </a:solidFill>
              </a:rPr>
              <a:t>Cons</a:t>
            </a:r>
            <a:r>
              <a:rPr lang="en-US" sz="2000" dirty="0">
                <a:solidFill>
                  <a:srgbClr val="273239"/>
                </a:solidFill>
              </a:rPr>
              <a:t>:</a:t>
            </a:r>
          </a:p>
          <a:p>
            <a:r>
              <a:rPr lang="en-IN" sz="2000" dirty="0">
                <a:solidFill>
                  <a:srgbClr val="273239"/>
                </a:solidFill>
              </a:rPr>
              <a:t>Cost is higher than waterfall model</a:t>
            </a:r>
          </a:p>
          <a:p>
            <a:endParaRPr lang="en-IN" sz="2000" dirty="0">
              <a:solidFill>
                <a:srgbClr val="273239"/>
              </a:solidFill>
            </a:endParaRPr>
          </a:p>
        </p:txBody>
      </p:sp>
    </p:spTree>
    <p:extLst>
      <p:ext uri="{BB962C8B-B14F-4D97-AF65-F5344CB8AC3E}">
        <p14:creationId xmlns:p14="http://schemas.microsoft.com/office/powerpoint/2010/main" val="151953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Effect transition="in" filter="barn(inVertical)">
                                      <p:cBhvr>
                                        <p:cTn id="7" dur="500"/>
                                        <p:tgtEl>
                                          <p:spTgt spid="30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0960D-44CD-4723-841C-5A7A539A2B65}"/>
              </a:ext>
            </a:extLst>
          </p:cNvPr>
          <p:cNvSpPr>
            <a:spLocks noGrp="1"/>
          </p:cNvSpPr>
          <p:nvPr>
            <p:ph type="title"/>
          </p:nvPr>
        </p:nvSpPr>
        <p:spPr>
          <a:xfrm>
            <a:off x="403860" y="-68580"/>
            <a:ext cx="10515600" cy="1325563"/>
          </a:xfrm>
        </p:spPr>
        <p:txBody>
          <a:bodyPr/>
          <a:lstStyle/>
          <a:p>
            <a:r>
              <a:rPr lang="en-US" sz="3200" b="1" dirty="0">
                <a:latin typeface="+mn-lt"/>
              </a:rPr>
              <a:t>V Model</a:t>
            </a:r>
            <a:endParaRPr lang="en-IN" sz="3200" b="1" dirty="0">
              <a:latin typeface="+mn-lt"/>
            </a:endParaRPr>
          </a:p>
        </p:txBody>
      </p:sp>
      <p:sp>
        <p:nvSpPr>
          <p:cNvPr id="3" name="Text Placeholder 2">
            <a:extLst>
              <a:ext uri="{FF2B5EF4-FFF2-40B4-BE49-F238E27FC236}">
                <a16:creationId xmlns:a16="http://schemas.microsoft.com/office/drawing/2014/main" id="{314EC162-C4BE-401B-AC0C-B9A7B71CC787}"/>
              </a:ext>
            </a:extLst>
          </p:cNvPr>
          <p:cNvSpPr txBox="1">
            <a:spLocks/>
          </p:cNvSpPr>
          <p:nvPr/>
        </p:nvSpPr>
        <p:spPr>
          <a:xfrm>
            <a:off x="403860" y="1104900"/>
            <a:ext cx="10287000" cy="5086350"/>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dirty="0"/>
          </a:p>
        </p:txBody>
      </p:sp>
      <p:sp>
        <p:nvSpPr>
          <p:cNvPr id="5" name="TextBox 4">
            <a:extLst>
              <a:ext uri="{FF2B5EF4-FFF2-40B4-BE49-F238E27FC236}">
                <a16:creationId xmlns:a16="http://schemas.microsoft.com/office/drawing/2014/main" id="{D5CDDABC-26BA-482A-A3A3-9E7D72FA513D}"/>
              </a:ext>
            </a:extLst>
          </p:cNvPr>
          <p:cNvSpPr txBox="1"/>
          <p:nvPr/>
        </p:nvSpPr>
        <p:spPr>
          <a:xfrm>
            <a:off x="403860" y="994410"/>
            <a:ext cx="10934700" cy="707886"/>
          </a:xfrm>
          <a:prstGeom prst="rect">
            <a:avLst/>
          </a:prstGeom>
          <a:noFill/>
        </p:spPr>
        <p:txBody>
          <a:bodyPr wrap="square" rtlCol="0">
            <a:spAutoFit/>
          </a:bodyPr>
          <a:lstStyle/>
          <a:p>
            <a:r>
              <a:rPr lang="en-US" sz="2000" dirty="0">
                <a:solidFill>
                  <a:srgbClr val="273239"/>
                </a:solidFill>
              </a:rPr>
              <a:t>Extension of the waterfall model. Instead of moving down in a linear way, the process steps are bent upwards after the coding phase, to form the typical V shape.</a:t>
            </a:r>
            <a:endParaRPr lang="en-IN" sz="2000" dirty="0">
              <a:solidFill>
                <a:srgbClr val="273239"/>
              </a:solidFill>
            </a:endParaRPr>
          </a:p>
        </p:txBody>
      </p:sp>
      <p:sp>
        <p:nvSpPr>
          <p:cNvPr id="8" name="TextBox 7">
            <a:extLst>
              <a:ext uri="{FF2B5EF4-FFF2-40B4-BE49-F238E27FC236}">
                <a16:creationId xmlns:a16="http://schemas.microsoft.com/office/drawing/2014/main" id="{EFF539BB-854D-43A0-A63D-5FEC21E931E5}"/>
              </a:ext>
            </a:extLst>
          </p:cNvPr>
          <p:cNvSpPr txBox="1"/>
          <p:nvPr/>
        </p:nvSpPr>
        <p:spPr>
          <a:xfrm>
            <a:off x="464820" y="1615421"/>
            <a:ext cx="4198620" cy="1323439"/>
          </a:xfrm>
          <a:prstGeom prst="rect">
            <a:avLst/>
          </a:prstGeom>
          <a:noFill/>
        </p:spPr>
        <p:txBody>
          <a:bodyPr wrap="square">
            <a:spAutoFit/>
          </a:bodyPr>
          <a:lstStyle/>
          <a:p>
            <a:r>
              <a:rPr lang="en-US" sz="2000" dirty="0">
                <a:solidFill>
                  <a:srgbClr val="273239"/>
                </a:solidFill>
              </a:rPr>
              <a:t>The V-Model demonstrates the relationships between each phase of the development life cycle and its associated phase of </a:t>
            </a:r>
            <a:r>
              <a:rPr lang="en-US" sz="2000" dirty="0">
                <a:solidFill>
                  <a:srgbClr val="273239"/>
                </a:solidFill>
                <a:hlinkClick r:id="rId3" tooltip="Software testing">
                  <a:extLst>
                    <a:ext uri="{A12FA001-AC4F-418D-AE19-62706E023703}">
                      <ahyp:hlinkClr xmlns:ahyp="http://schemas.microsoft.com/office/drawing/2018/hyperlinkcolor" val="tx"/>
                    </a:ext>
                  </a:extLst>
                </a:hlinkClick>
              </a:rPr>
              <a:t>testing</a:t>
            </a:r>
            <a:r>
              <a:rPr lang="en-US" sz="2000" dirty="0">
                <a:solidFill>
                  <a:srgbClr val="273239"/>
                </a:solidFill>
              </a:rPr>
              <a:t>.</a:t>
            </a:r>
            <a:endParaRPr lang="en-IN" sz="2000" dirty="0">
              <a:solidFill>
                <a:srgbClr val="273239"/>
              </a:solidFill>
            </a:endParaRPr>
          </a:p>
        </p:txBody>
      </p:sp>
      <p:sp>
        <p:nvSpPr>
          <p:cNvPr id="13" name="TextBox 12">
            <a:extLst>
              <a:ext uri="{FF2B5EF4-FFF2-40B4-BE49-F238E27FC236}">
                <a16:creationId xmlns:a16="http://schemas.microsoft.com/office/drawing/2014/main" id="{2308982C-5324-4A08-8000-2CAA79AAAD29}"/>
              </a:ext>
            </a:extLst>
          </p:cNvPr>
          <p:cNvSpPr txBox="1"/>
          <p:nvPr/>
        </p:nvSpPr>
        <p:spPr>
          <a:xfrm>
            <a:off x="403860" y="3309045"/>
            <a:ext cx="4591050" cy="2554545"/>
          </a:xfrm>
          <a:prstGeom prst="rect">
            <a:avLst/>
          </a:prstGeom>
          <a:noFill/>
        </p:spPr>
        <p:txBody>
          <a:bodyPr wrap="square">
            <a:spAutoFit/>
          </a:bodyPr>
          <a:lstStyle/>
          <a:p>
            <a:r>
              <a:rPr lang="en-US" sz="2000" b="1" dirty="0">
                <a:solidFill>
                  <a:srgbClr val="273239"/>
                </a:solidFill>
              </a:rPr>
              <a:t>Pros</a:t>
            </a:r>
            <a:r>
              <a:rPr lang="en-US" sz="2000" dirty="0">
                <a:solidFill>
                  <a:srgbClr val="273239"/>
                </a:solidFill>
              </a:rPr>
              <a:t>:</a:t>
            </a:r>
          </a:p>
          <a:p>
            <a:r>
              <a:rPr lang="en-US" sz="2000" dirty="0">
                <a:solidFill>
                  <a:srgbClr val="273239"/>
                </a:solidFill>
              </a:rPr>
              <a:t>Suitable for small and medium projects</a:t>
            </a:r>
          </a:p>
          <a:p>
            <a:r>
              <a:rPr lang="en-US" sz="2000" dirty="0">
                <a:solidFill>
                  <a:srgbClr val="273239"/>
                </a:solidFill>
              </a:rPr>
              <a:t>Ambiguities are identified from the beginning because of testing from the initial phase.</a:t>
            </a:r>
          </a:p>
          <a:p>
            <a:endParaRPr lang="en-IN" sz="2000" dirty="0">
              <a:solidFill>
                <a:srgbClr val="273239"/>
              </a:solidFill>
            </a:endParaRPr>
          </a:p>
          <a:p>
            <a:endParaRPr lang="en-IN" sz="2000" dirty="0">
              <a:solidFill>
                <a:srgbClr val="273239"/>
              </a:solidFill>
            </a:endParaRPr>
          </a:p>
          <a:p>
            <a:endParaRPr lang="en-IN" sz="2000" dirty="0">
              <a:solidFill>
                <a:srgbClr val="273239"/>
              </a:solidFill>
            </a:endParaRPr>
          </a:p>
        </p:txBody>
      </p:sp>
      <p:sp>
        <p:nvSpPr>
          <p:cNvPr id="14" name="TextBox 13">
            <a:extLst>
              <a:ext uri="{FF2B5EF4-FFF2-40B4-BE49-F238E27FC236}">
                <a16:creationId xmlns:a16="http://schemas.microsoft.com/office/drawing/2014/main" id="{17C67BE2-DA40-4CBB-8199-6222866AFCC8}"/>
              </a:ext>
            </a:extLst>
          </p:cNvPr>
          <p:cNvSpPr txBox="1"/>
          <p:nvPr/>
        </p:nvSpPr>
        <p:spPr>
          <a:xfrm>
            <a:off x="403860" y="5035589"/>
            <a:ext cx="3970020" cy="1938992"/>
          </a:xfrm>
          <a:prstGeom prst="rect">
            <a:avLst/>
          </a:prstGeom>
          <a:noFill/>
        </p:spPr>
        <p:txBody>
          <a:bodyPr wrap="square">
            <a:spAutoFit/>
          </a:bodyPr>
          <a:lstStyle/>
          <a:p>
            <a:r>
              <a:rPr lang="en-US" sz="2000" b="1" dirty="0">
                <a:solidFill>
                  <a:srgbClr val="273239"/>
                </a:solidFill>
              </a:rPr>
              <a:t>Cons</a:t>
            </a:r>
            <a:r>
              <a:rPr lang="en-US" sz="2000" dirty="0">
                <a:solidFill>
                  <a:srgbClr val="273239"/>
                </a:solidFill>
              </a:rPr>
              <a:t>:</a:t>
            </a:r>
          </a:p>
          <a:p>
            <a:r>
              <a:rPr lang="en-IN" sz="2000" dirty="0">
                <a:solidFill>
                  <a:srgbClr val="273239"/>
                </a:solidFill>
              </a:rPr>
              <a:t>Not suitable if requirement is not fixed</a:t>
            </a:r>
          </a:p>
          <a:p>
            <a:r>
              <a:rPr lang="en-IN" sz="2000" dirty="0">
                <a:solidFill>
                  <a:srgbClr val="273239"/>
                </a:solidFill>
              </a:rPr>
              <a:t>Ready product is not produced in intermediate stages</a:t>
            </a:r>
          </a:p>
          <a:p>
            <a:endParaRPr lang="en-IN" sz="2000" dirty="0">
              <a:solidFill>
                <a:srgbClr val="273239"/>
              </a:solidFill>
            </a:endParaRPr>
          </a:p>
        </p:txBody>
      </p:sp>
      <p:pic>
        <p:nvPicPr>
          <p:cNvPr id="4098" name="Picture 2">
            <a:extLst>
              <a:ext uri="{FF2B5EF4-FFF2-40B4-BE49-F238E27FC236}">
                <a16:creationId xmlns:a16="http://schemas.microsoft.com/office/drawing/2014/main" id="{A09F1F83-198C-4F64-BB8C-2058C94A704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91176" y="1701819"/>
            <a:ext cx="7648148" cy="42586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300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animEffect transition="in" filter="wipe(down)">
                                      <p:cBhvr>
                                        <p:cTn id="7" dur="500"/>
                                        <p:tgtEl>
                                          <p:spTgt spid="40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0960D-44CD-4723-841C-5A7A539A2B65}"/>
              </a:ext>
            </a:extLst>
          </p:cNvPr>
          <p:cNvSpPr>
            <a:spLocks noGrp="1"/>
          </p:cNvSpPr>
          <p:nvPr>
            <p:ph type="title"/>
          </p:nvPr>
        </p:nvSpPr>
        <p:spPr>
          <a:xfrm>
            <a:off x="403860" y="-68580"/>
            <a:ext cx="10515600" cy="1325563"/>
          </a:xfrm>
        </p:spPr>
        <p:txBody>
          <a:bodyPr/>
          <a:lstStyle/>
          <a:p>
            <a:r>
              <a:rPr lang="en-US" sz="3200" b="1" dirty="0">
                <a:latin typeface="+mn-lt"/>
              </a:rPr>
              <a:t>Spiral Model</a:t>
            </a:r>
            <a:endParaRPr lang="en-IN" sz="3200" b="1" dirty="0">
              <a:latin typeface="+mn-lt"/>
            </a:endParaRPr>
          </a:p>
        </p:txBody>
      </p:sp>
      <p:sp>
        <p:nvSpPr>
          <p:cNvPr id="3" name="Text Placeholder 2">
            <a:extLst>
              <a:ext uri="{FF2B5EF4-FFF2-40B4-BE49-F238E27FC236}">
                <a16:creationId xmlns:a16="http://schemas.microsoft.com/office/drawing/2014/main" id="{314EC162-C4BE-401B-AC0C-B9A7B71CC787}"/>
              </a:ext>
            </a:extLst>
          </p:cNvPr>
          <p:cNvSpPr txBox="1">
            <a:spLocks/>
          </p:cNvSpPr>
          <p:nvPr/>
        </p:nvSpPr>
        <p:spPr>
          <a:xfrm>
            <a:off x="403860" y="1104900"/>
            <a:ext cx="10287000" cy="5086350"/>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dirty="0"/>
          </a:p>
        </p:txBody>
      </p:sp>
      <p:sp>
        <p:nvSpPr>
          <p:cNvPr id="5" name="TextBox 4">
            <a:extLst>
              <a:ext uri="{FF2B5EF4-FFF2-40B4-BE49-F238E27FC236}">
                <a16:creationId xmlns:a16="http://schemas.microsoft.com/office/drawing/2014/main" id="{D5CDDABC-26BA-482A-A3A3-9E7D72FA513D}"/>
              </a:ext>
            </a:extLst>
          </p:cNvPr>
          <p:cNvSpPr txBox="1"/>
          <p:nvPr/>
        </p:nvSpPr>
        <p:spPr>
          <a:xfrm>
            <a:off x="403860" y="994410"/>
            <a:ext cx="10934700" cy="1015663"/>
          </a:xfrm>
          <a:prstGeom prst="rect">
            <a:avLst/>
          </a:prstGeom>
          <a:noFill/>
        </p:spPr>
        <p:txBody>
          <a:bodyPr wrap="square" rtlCol="0">
            <a:spAutoFit/>
          </a:bodyPr>
          <a:lstStyle/>
          <a:p>
            <a:r>
              <a:rPr lang="en-US" sz="2000" dirty="0">
                <a:solidFill>
                  <a:srgbClr val="273239"/>
                </a:solidFill>
              </a:rPr>
              <a:t>A risk-driven software development process model. Based on the unique risk patterns of a given project, the spiral model guides a team to adopt elements of one or more process models, such as incremental, waterfall, or evolutionary prototyping.</a:t>
            </a:r>
            <a:endParaRPr lang="en-IN" sz="2000" dirty="0">
              <a:solidFill>
                <a:srgbClr val="273239"/>
              </a:solidFill>
            </a:endParaRPr>
          </a:p>
        </p:txBody>
      </p:sp>
      <p:sp>
        <p:nvSpPr>
          <p:cNvPr id="8" name="TextBox 7">
            <a:extLst>
              <a:ext uri="{FF2B5EF4-FFF2-40B4-BE49-F238E27FC236}">
                <a16:creationId xmlns:a16="http://schemas.microsoft.com/office/drawing/2014/main" id="{EFF539BB-854D-43A0-A63D-5FEC21E931E5}"/>
              </a:ext>
            </a:extLst>
          </p:cNvPr>
          <p:cNvSpPr txBox="1"/>
          <p:nvPr/>
        </p:nvSpPr>
        <p:spPr>
          <a:xfrm>
            <a:off x="403860" y="1930361"/>
            <a:ext cx="4198620" cy="3785652"/>
          </a:xfrm>
          <a:prstGeom prst="rect">
            <a:avLst/>
          </a:prstGeom>
          <a:noFill/>
        </p:spPr>
        <p:txBody>
          <a:bodyPr wrap="square">
            <a:spAutoFit/>
          </a:bodyPr>
          <a:lstStyle/>
          <a:p>
            <a:pPr algn="l"/>
            <a:r>
              <a:rPr lang="en-US" sz="2000" b="1" dirty="0">
                <a:solidFill>
                  <a:srgbClr val="273239"/>
                </a:solidFill>
              </a:rPr>
              <a:t>Perform four basic activities in every cycle</a:t>
            </a:r>
          </a:p>
          <a:p>
            <a:pPr algn="l">
              <a:buFont typeface="+mj-lt"/>
              <a:buAutoNum type="arabicPeriod"/>
            </a:pPr>
            <a:r>
              <a:rPr lang="en-US" sz="2000" dirty="0">
                <a:solidFill>
                  <a:srgbClr val="273239"/>
                </a:solidFill>
              </a:rPr>
              <a:t>Consider the win conditions of all success-critical stakeholders.</a:t>
            </a:r>
          </a:p>
          <a:p>
            <a:pPr algn="l">
              <a:buFont typeface="+mj-lt"/>
              <a:buAutoNum type="arabicPeriod"/>
            </a:pPr>
            <a:r>
              <a:rPr lang="en-US" sz="2000" dirty="0">
                <a:solidFill>
                  <a:srgbClr val="273239"/>
                </a:solidFill>
              </a:rPr>
              <a:t>Identify and evaluate alternative approaches for satisfying the win conditions.</a:t>
            </a:r>
          </a:p>
          <a:p>
            <a:pPr algn="l">
              <a:buFont typeface="+mj-lt"/>
              <a:buAutoNum type="arabicPeriod"/>
            </a:pPr>
            <a:r>
              <a:rPr lang="en-US" sz="2000" dirty="0">
                <a:solidFill>
                  <a:srgbClr val="273239"/>
                </a:solidFill>
              </a:rPr>
              <a:t>Identify and resolve risks that stem from the selected approach(es).</a:t>
            </a:r>
          </a:p>
          <a:p>
            <a:pPr algn="l">
              <a:buFont typeface="+mj-lt"/>
              <a:buAutoNum type="arabicPeriod"/>
            </a:pPr>
            <a:r>
              <a:rPr lang="en-US" sz="2000" dirty="0">
                <a:solidFill>
                  <a:srgbClr val="273239"/>
                </a:solidFill>
              </a:rPr>
              <a:t>Obtain approval from all success-critical stakeholders, plus commitment to pursue the next cycle.</a:t>
            </a:r>
          </a:p>
        </p:txBody>
      </p:sp>
      <p:pic>
        <p:nvPicPr>
          <p:cNvPr id="5128" name="Picture 8" descr="What is Spiral Model in Software Engineering? Phases, Use, Advanatges &amp;  Disadvantages - Binary Terms">
            <a:extLst>
              <a:ext uri="{FF2B5EF4-FFF2-40B4-BE49-F238E27FC236}">
                <a16:creationId xmlns:a16="http://schemas.microsoft.com/office/drawing/2014/main" id="{C695A6A9-A125-49CD-A834-81FC3B3D582F}"/>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200000"/>
                    </a14:imgEffect>
                  </a14:imgLayer>
                </a14:imgProps>
              </a:ext>
              <a:ext uri="{28A0092B-C50C-407E-A947-70E740481C1C}">
                <a14:useLocalDpi xmlns:a14="http://schemas.microsoft.com/office/drawing/2010/main" val="0"/>
              </a:ext>
            </a:extLst>
          </a:blip>
          <a:srcRect b="16719"/>
          <a:stretch/>
        </p:blipFill>
        <p:spPr bwMode="auto">
          <a:xfrm>
            <a:off x="6278880" y="2318853"/>
            <a:ext cx="3648860" cy="3397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0468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5128"/>
                                        </p:tgtEl>
                                        <p:attrNameLst>
                                          <p:attrName>style.visibility</p:attrName>
                                        </p:attrNameLst>
                                      </p:cBhvr>
                                      <p:to>
                                        <p:strVal val="visible"/>
                                      </p:to>
                                    </p:set>
                                    <p:animEffect transition="in" filter="wheel(1)">
                                      <p:cBhvr>
                                        <p:cTn id="7" dur="2000"/>
                                        <p:tgtEl>
                                          <p:spTgt spid="51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0960D-44CD-4723-841C-5A7A539A2B65}"/>
              </a:ext>
            </a:extLst>
          </p:cNvPr>
          <p:cNvSpPr>
            <a:spLocks noGrp="1"/>
          </p:cNvSpPr>
          <p:nvPr>
            <p:ph type="title"/>
          </p:nvPr>
        </p:nvSpPr>
        <p:spPr>
          <a:xfrm>
            <a:off x="403860" y="-68580"/>
            <a:ext cx="10515600" cy="1325563"/>
          </a:xfrm>
        </p:spPr>
        <p:txBody>
          <a:bodyPr/>
          <a:lstStyle/>
          <a:p>
            <a:r>
              <a:rPr lang="en-US" sz="3200" b="1" dirty="0">
                <a:latin typeface="+mn-lt"/>
              </a:rPr>
              <a:t>RAD Model</a:t>
            </a:r>
            <a:endParaRPr lang="en-IN" sz="3200" b="1" dirty="0">
              <a:latin typeface="+mn-lt"/>
            </a:endParaRPr>
          </a:p>
        </p:txBody>
      </p:sp>
      <p:sp>
        <p:nvSpPr>
          <p:cNvPr id="3" name="Text Placeholder 2">
            <a:extLst>
              <a:ext uri="{FF2B5EF4-FFF2-40B4-BE49-F238E27FC236}">
                <a16:creationId xmlns:a16="http://schemas.microsoft.com/office/drawing/2014/main" id="{314EC162-C4BE-401B-AC0C-B9A7B71CC787}"/>
              </a:ext>
            </a:extLst>
          </p:cNvPr>
          <p:cNvSpPr txBox="1">
            <a:spLocks/>
          </p:cNvSpPr>
          <p:nvPr/>
        </p:nvSpPr>
        <p:spPr>
          <a:xfrm>
            <a:off x="403860" y="1104900"/>
            <a:ext cx="10287000" cy="5086350"/>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dirty="0"/>
          </a:p>
        </p:txBody>
      </p:sp>
      <p:sp>
        <p:nvSpPr>
          <p:cNvPr id="5" name="TextBox 4">
            <a:extLst>
              <a:ext uri="{FF2B5EF4-FFF2-40B4-BE49-F238E27FC236}">
                <a16:creationId xmlns:a16="http://schemas.microsoft.com/office/drawing/2014/main" id="{D5CDDABC-26BA-482A-A3A3-9E7D72FA513D}"/>
              </a:ext>
            </a:extLst>
          </p:cNvPr>
          <p:cNvSpPr txBox="1"/>
          <p:nvPr/>
        </p:nvSpPr>
        <p:spPr>
          <a:xfrm>
            <a:off x="403860" y="994410"/>
            <a:ext cx="10934700" cy="707886"/>
          </a:xfrm>
          <a:prstGeom prst="rect">
            <a:avLst/>
          </a:prstGeom>
          <a:noFill/>
        </p:spPr>
        <p:txBody>
          <a:bodyPr wrap="square" rtlCol="0">
            <a:spAutoFit/>
          </a:bodyPr>
          <a:lstStyle/>
          <a:p>
            <a:r>
              <a:rPr lang="en-US" sz="2000" dirty="0">
                <a:solidFill>
                  <a:srgbClr val="273239"/>
                </a:solidFill>
              </a:rPr>
              <a:t>Rapid Application Development put less emphasis on planning and more emphasis on an adaptive process. </a:t>
            </a:r>
            <a:r>
              <a:rPr lang="en-US" sz="2000" dirty="0">
                <a:solidFill>
                  <a:srgbClr val="273239"/>
                </a:solidFill>
                <a:hlinkClick r:id="rId3" tooltip="Software prototype">
                  <a:extLst>
                    <a:ext uri="{A12FA001-AC4F-418D-AE19-62706E023703}">
                      <ahyp:hlinkClr xmlns:ahyp="http://schemas.microsoft.com/office/drawing/2018/hyperlinkcolor" val="tx"/>
                    </a:ext>
                  </a:extLst>
                </a:hlinkClick>
              </a:rPr>
              <a:t>Prototypes</a:t>
            </a:r>
            <a:r>
              <a:rPr lang="en-US" sz="2000" dirty="0">
                <a:solidFill>
                  <a:srgbClr val="273239"/>
                </a:solidFill>
              </a:rPr>
              <a:t> are often used in addition to or sometimes even instead of design specifications.</a:t>
            </a:r>
            <a:endParaRPr lang="en-IN" sz="2000" dirty="0">
              <a:solidFill>
                <a:srgbClr val="273239"/>
              </a:solidFill>
            </a:endParaRPr>
          </a:p>
        </p:txBody>
      </p:sp>
      <p:sp>
        <p:nvSpPr>
          <p:cNvPr id="8" name="TextBox 7">
            <a:extLst>
              <a:ext uri="{FF2B5EF4-FFF2-40B4-BE49-F238E27FC236}">
                <a16:creationId xmlns:a16="http://schemas.microsoft.com/office/drawing/2014/main" id="{EFF539BB-854D-43A0-A63D-5FEC21E931E5}"/>
              </a:ext>
            </a:extLst>
          </p:cNvPr>
          <p:cNvSpPr txBox="1"/>
          <p:nvPr/>
        </p:nvSpPr>
        <p:spPr>
          <a:xfrm>
            <a:off x="403860" y="1930361"/>
            <a:ext cx="5227320" cy="1323439"/>
          </a:xfrm>
          <a:prstGeom prst="rect">
            <a:avLst/>
          </a:prstGeom>
          <a:noFill/>
        </p:spPr>
        <p:txBody>
          <a:bodyPr wrap="square">
            <a:spAutoFit/>
          </a:bodyPr>
          <a:lstStyle/>
          <a:p>
            <a:pPr algn="l"/>
            <a:r>
              <a:rPr lang="en-US" sz="2000" dirty="0">
                <a:solidFill>
                  <a:srgbClr val="273239"/>
                </a:solidFill>
              </a:rPr>
              <a:t>Well suited for developing </a:t>
            </a:r>
            <a:r>
              <a:rPr lang="en-US" sz="2000" dirty="0">
                <a:solidFill>
                  <a:srgbClr val="273239"/>
                </a:solidFill>
                <a:hlinkClick r:id="rId4" tooltip="Software">
                  <a:extLst>
                    <a:ext uri="{A12FA001-AC4F-418D-AE19-62706E023703}">
                      <ahyp:hlinkClr xmlns:ahyp="http://schemas.microsoft.com/office/drawing/2018/hyperlinkcolor" val="tx"/>
                    </a:ext>
                  </a:extLst>
                </a:hlinkClick>
              </a:rPr>
              <a:t>software</a:t>
            </a:r>
            <a:r>
              <a:rPr lang="en-US" sz="2000" dirty="0">
                <a:solidFill>
                  <a:srgbClr val="273239"/>
                </a:solidFill>
              </a:rPr>
              <a:t> that is driven by </a:t>
            </a:r>
            <a:r>
              <a:rPr lang="en-US" sz="2000" dirty="0">
                <a:solidFill>
                  <a:srgbClr val="273239"/>
                </a:solidFill>
                <a:hlinkClick r:id="rId5" tooltip="User interface">
                  <a:extLst>
                    <a:ext uri="{A12FA001-AC4F-418D-AE19-62706E023703}">
                      <ahyp:hlinkClr xmlns:ahyp="http://schemas.microsoft.com/office/drawing/2018/hyperlinkcolor" val="tx"/>
                    </a:ext>
                  </a:extLst>
                </a:hlinkClick>
              </a:rPr>
              <a:t>user interface</a:t>
            </a:r>
            <a:r>
              <a:rPr lang="en-US" sz="2000" dirty="0">
                <a:solidFill>
                  <a:srgbClr val="273239"/>
                </a:solidFill>
              </a:rPr>
              <a:t> </a:t>
            </a:r>
            <a:r>
              <a:rPr lang="en-US" sz="2000" dirty="0">
                <a:solidFill>
                  <a:srgbClr val="273239"/>
                </a:solidFill>
                <a:hlinkClick r:id="rId6" tooltip="James Martin (author)">
                  <a:extLst>
                    <a:ext uri="{A12FA001-AC4F-418D-AE19-62706E023703}">
                      <ahyp:hlinkClr xmlns:ahyp="http://schemas.microsoft.com/office/drawing/2018/hyperlinkcolor" val="tx"/>
                    </a:ext>
                  </a:extLst>
                </a:hlinkClick>
              </a:rPr>
              <a:t>requirements</a:t>
            </a:r>
            <a:r>
              <a:rPr lang="en-US" sz="2000" dirty="0">
                <a:solidFill>
                  <a:srgbClr val="273239"/>
                </a:solidFill>
              </a:rPr>
              <a:t>. </a:t>
            </a:r>
            <a:r>
              <a:rPr lang="en-US" sz="2000" dirty="0">
                <a:solidFill>
                  <a:srgbClr val="273239"/>
                </a:solidFill>
                <a:hlinkClick r:id="rId7" tooltip="Graphical user interface builder">
                  <a:extLst>
                    <a:ext uri="{A12FA001-AC4F-418D-AE19-62706E023703}">
                      <ahyp:hlinkClr xmlns:ahyp="http://schemas.microsoft.com/office/drawing/2018/hyperlinkcolor" val="tx"/>
                    </a:ext>
                  </a:extLst>
                </a:hlinkClick>
              </a:rPr>
              <a:t>Graphical user interface builders</a:t>
            </a:r>
            <a:r>
              <a:rPr lang="en-US" sz="2000" dirty="0">
                <a:solidFill>
                  <a:srgbClr val="273239"/>
                </a:solidFill>
              </a:rPr>
              <a:t> are often called rapid application development tools</a:t>
            </a:r>
            <a:r>
              <a:rPr lang="en-US" sz="2000" b="0" i="0" dirty="0">
                <a:solidFill>
                  <a:srgbClr val="202122"/>
                </a:solidFill>
                <a:effectLst/>
                <a:latin typeface="Arial" panose="020B0604020202020204" pitchFamily="34" charset="0"/>
              </a:rPr>
              <a:t>. </a:t>
            </a:r>
            <a:endParaRPr lang="en-US" sz="2000" dirty="0">
              <a:solidFill>
                <a:srgbClr val="273239"/>
              </a:solidFill>
            </a:endParaRPr>
          </a:p>
        </p:txBody>
      </p:sp>
      <p:pic>
        <p:nvPicPr>
          <p:cNvPr id="6146" name="Picture 2">
            <a:extLst>
              <a:ext uri="{FF2B5EF4-FFF2-40B4-BE49-F238E27FC236}">
                <a16:creationId xmlns:a16="http://schemas.microsoft.com/office/drawing/2014/main" id="{3E35EA9A-9CD4-4C86-B46C-0B968BF879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78333" y="2397621"/>
            <a:ext cx="4836377" cy="3098304"/>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7808B977-FF22-4A37-9CD5-2AA112120C2E}"/>
              </a:ext>
            </a:extLst>
          </p:cNvPr>
          <p:cNvSpPr txBox="1"/>
          <p:nvPr/>
        </p:nvSpPr>
        <p:spPr>
          <a:xfrm>
            <a:off x="403860" y="3429000"/>
            <a:ext cx="5227320" cy="1631216"/>
          </a:xfrm>
          <a:prstGeom prst="rect">
            <a:avLst/>
          </a:prstGeom>
          <a:noFill/>
        </p:spPr>
        <p:txBody>
          <a:bodyPr wrap="square">
            <a:spAutoFit/>
          </a:bodyPr>
          <a:lstStyle/>
          <a:p>
            <a:pPr algn="l"/>
            <a:r>
              <a:rPr lang="en-US" sz="2000" b="1" dirty="0">
                <a:solidFill>
                  <a:srgbClr val="273239"/>
                </a:solidFill>
              </a:rPr>
              <a:t>Pros</a:t>
            </a:r>
            <a:r>
              <a:rPr lang="en-US" sz="2000" dirty="0">
                <a:solidFill>
                  <a:srgbClr val="273239"/>
                </a:solidFill>
              </a:rPr>
              <a:t>:</a:t>
            </a:r>
          </a:p>
          <a:p>
            <a:pPr algn="l"/>
            <a:r>
              <a:rPr lang="en-US" sz="2000" dirty="0">
                <a:solidFill>
                  <a:srgbClr val="273239"/>
                </a:solidFill>
              </a:rPr>
              <a:t>Better Quality product</a:t>
            </a:r>
          </a:p>
          <a:p>
            <a:pPr algn="l"/>
            <a:r>
              <a:rPr lang="en-US" sz="2000" dirty="0">
                <a:solidFill>
                  <a:srgbClr val="273239"/>
                </a:solidFill>
              </a:rPr>
              <a:t>Better Risk Control</a:t>
            </a:r>
          </a:p>
          <a:p>
            <a:pPr algn="l"/>
            <a:r>
              <a:rPr lang="en-US" sz="2000" dirty="0">
                <a:solidFill>
                  <a:srgbClr val="273239"/>
                </a:solidFill>
              </a:rPr>
              <a:t>Better time and budget control</a:t>
            </a:r>
          </a:p>
          <a:p>
            <a:pPr algn="l"/>
            <a:endParaRPr lang="en-US" sz="2000" dirty="0">
              <a:solidFill>
                <a:srgbClr val="273239"/>
              </a:solidFill>
            </a:endParaRPr>
          </a:p>
        </p:txBody>
      </p:sp>
      <p:sp>
        <p:nvSpPr>
          <p:cNvPr id="10" name="TextBox 9">
            <a:extLst>
              <a:ext uri="{FF2B5EF4-FFF2-40B4-BE49-F238E27FC236}">
                <a16:creationId xmlns:a16="http://schemas.microsoft.com/office/drawing/2014/main" id="{954DF4AC-8F15-4605-8E67-F3210DD2797B}"/>
              </a:ext>
            </a:extLst>
          </p:cNvPr>
          <p:cNvSpPr txBox="1"/>
          <p:nvPr/>
        </p:nvSpPr>
        <p:spPr>
          <a:xfrm>
            <a:off x="434340" y="4822987"/>
            <a:ext cx="5227320" cy="1631216"/>
          </a:xfrm>
          <a:prstGeom prst="rect">
            <a:avLst/>
          </a:prstGeom>
          <a:noFill/>
        </p:spPr>
        <p:txBody>
          <a:bodyPr wrap="square">
            <a:spAutoFit/>
          </a:bodyPr>
          <a:lstStyle/>
          <a:p>
            <a:pPr algn="l"/>
            <a:r>
              <a:rPr lang="en-US" sz="2000" b="1" dirty="0">
                <a:solidFill>
                  <a:srgbClr val="273239"/>
                </a:solidFill>
              </a:rPr>
              <a:t>Cons</a:t>
            </a:r>
            <a:r>
              <a:rPr lang="en-US" sz="2000" dirty="0">
                <a:solidFill>
                  <a:srgbClr val="273239"/>
                </a:solidFill>
              </a:rPr>
              <a:t>:</a:t>
            </a:r>
          </a:p>
          <a:p>
            <a:pPr algn="l"/>
            <a:r>
              <a:rPr lang="en-US" sz="2000" dirty="0">
                <a:solidFill>
                  <a:srgbClr val="273239"/>
                </a:solidFill>
              </a:rPr>
              <a:t>Less emphasis on Non-Functional Requirement</a:t>
            </a:r>
          </a:p>
          <a:p>
            <a:pPr algn="l"/>
            <a:r>
              <a:rPr lang="en-US" sz="2000" dirty="0">
                <a:solidFill>
                  <a:srgbClr val="273239"/>
                </a:solidFill>
              </a:rPr>
              <a:t>Not good for Large projects as it focuses more on small- medium scale projects</a:t>
            </a:r>
          </a:p>
          <a:p>
            <a:pPr algn="l"/>
            <a:endParaRPr lang="en-US" sz="2000" dirty="0">
              <a:solidFill>
                <a:srgbClr val="273239"/>
              </a:solidFill>
            </a:endParaRPr>
          </a:p>
        </p:txBody>
      </p:sp>
    </p:spTree>
    <p:extLst>
      <p:ext uri="{BB962C8B-B14F-4D97-AF65-F5344CB8AC3E}">
        <p14:creationId xmlns:p14="http://schemas.microsoft.com/office/powerpoint/2010/main" val="17746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circle(in)">
                                      <p:cBhvr>
                                        <p:cTn id="7" dur="2000"/>
                                        <p:tgtEl>
                                          <p:spTgt spid="6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0960D-44CD-4723-841C-5A7A539A2B65}"/>
              </a:ext>
            </a:extLst>
          </p:cNvPr>
          <p:cNvSpPr>
            <a:spLocks noGrp="1"/>
          </p:cNvSpPr>
          <p:nvPr>
            <p:ph type="title"/>
          </p:nvPr>
        </p:nvSpPr>
        <p:spPr>
          <a:xfrm>
            <a:off x="403860" y="-68580"/>
            <a:ext cx="10515600" cy="1325563"/>
          </a:xfrm>
        </p:spPr>
        <p:txBody>
          <a:bodyPr/>
          <a:lstStyle/>
          <a:p>
            <a:r>
              <a:rPr lang="en-US" sz="3200" b="1" dirty="0">
                <a:latin typeface="+mn-lt"/>
              </a:rPr>
              <a:t>Waterfall Model</a:t>
            </a:r>
            <a:endParaRPr lang="en-IN" sz="3200" b="1" dirty="0">
              <a:latin typeface="+mn-lt"/>
            </a:endParaRPr>
          </a:p>
        </p:txBody>
      </p:sp>
      <p:sp>
        <p:nvSpPr>
          <p:cNvPr id="3" name="Text Placeholder 2">
            <a:extLst>
              <a:ext uri="{FF2B5EF4-FFF2-40B4-BE49-F238E27FC236}">
                <a16:creationId xmlns:a16="http://schemas.microsoft.com/office/drawing/2014/main" id="{314EC162-C4BE-401B-AC0C-B9A7B71CC787}"/>
              </a:ext>
            </a:extLst>
          </p:cNvPr>
          <p:cNvSpPr txBox="1">
            <a:spLocks/>
          </p:cNvSpPr>
          <p:nvPr/>
        </p:nvSpPr>
        <p:spPr>
          <a:xfrm>
            <a:off x="403860" y="1104900"/>
            <a:ext cx="10287000" cy="5086350"/>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dirty="0"/>
          </a:p>
        </p:txBody>
      </p:sp>
      <p:sp>
        <p:nvSpPr>
          <p:cNvPr id="5" name="TextBox 4">
            <a:extLst>
              <a:ext uri="{FF2B5EF4-FFF2-40B4-BE49-F238E27FC236}">
                <a16:creationId xmlns:a16="http://schemas.microsoft.com/office/drawing/2014/main" id="{D5CDDABC-26BA-482A-A3A3-9E7D72FA513D}"/>
              </a:ext>
            </a:extLst>
          </p:cNvPr>
          <p:cNvSpPr txBox="1"/>
          <p:nvPr/>
        </p:nvSpPr>
        <p:spPr>
          <a:xfrm>
            <a:off x="403860" y="994410"/>
            <a:ext cx="10934700" cy="707886"/>
          </a:xfrm>
          <a:prstGeom prst="rect">
            <a:avLst/>
          </a:prstGeom>
          <a:noFill/>
        </p:spPr>
        <p:txBody>
          <a:bodyPr wrap="square" rtlCol="0">
            <a:spAutoFit/>
          </a:bodyPr>
          <a:lstStyle/>
          <a:p>
            <a:r>
              <a:rPr lang="en-US" sz="2000" dirty="0">
                <a:solidFill>
                  <a:srgbClr val="273239"/>
                </a:solidFill>
              </a:rPr>
              <a:t>Breakdown of project activities into linear sequential phases, where each phase depends on the deliverables of the previous one and corresponds to a specialization of tasks.</a:t>
            </a:r>
            <a:endParaRPr lang="en-IN" sz="2000" dirty="0">
              <a:solidFill>
                <a:srgbClr val="273239"/>
              </a:solidFill>
            </a:endParaRPr>
          </a:p>
        </p:txBody>
      </p:sp>
      <p:sp>
        <p:nvSpPr>
          <p:cNvPr id="9" name="TextBox 8">
            <a:extLst>
              <a:ext uri="{FF2B5EF4-FFF2-40B4-BE49-F238E27FC236}">
                <a16:creationId xmlns:a16="http://schemas.microsoft.com/office/drawing/2014/main" id="{7808B977-FF22-4A37-9CD5-2AA112120C2E}"/>
              </a:ext>
            </a:extLst>
          </p:cNvPr>
          <p:cNvSpPr txBox="1"/>
          <p:nvPr/>
        </p:nvSpPr>
        <p:spPr>
          <a:xfrm>
            <a:off x="403860" y="3429000"/>
            <a:ext cx="5227320" cy="1323439"/>
          </a:xfrm>
          <a:prstGeom prst="rect">
            <a:avLst/>
          </a:prstGeom>
          <a:noFill/>
        </p:spPr>
        <p:txBody>
          <a:bodyPr wrap="square">
            <a:spAutoFit/>
          </a:bodyPr>
          <a:lstStyle/>
          <a:p>
            <a:pPr algn="l"/>
            <a:r>
              <a:rPr lang="en-US" sz="2000" b="1" dirty="0">
                <a:solidFill>
                  <a:srgbClr val="273239"/>
                </a:solidFill>
              </a:rPr>
              <a:t>Pros</a:t>
            </a:r>
            <a:r>
              <a:rPr lang="en-US" sz="2000" dirty="0">
                <a:solidFill>
                  <a:srgbClr val="273239"/>
                </a:solidFill>
              </a:rPr>
              <a:t>:</a:t>
            </a:r>
          </a:p>
          <a:p>
            <a:pPr algn="l"/>
            <a:r>
              <a:rPr lang="en-US" sz="2000" dirty="0">
                <a:solidFill>
                  <a:srgbClr val="273239"/>
                </a:solidFill>
              </a:rPr>
              <a:t>End Goal is known early</a:t>
            </a:r>
          </a:p>
          <a:p>
            <a:pPr algn="l"/>
            <a:r>
              <a:rPr lang="en-US" sz="2000" dirty="0">
                <a:solidFill>
                  <a:srgbClr val="273239"/>
                </a:solidFill>
              </a:rPr>
              <a:t>Transforms complete info from one phase to another. </a:t>
            </a:r>
          </a:p>
        </p:txBody>
      </p:sp>
      <p:sp>
        <p:nvSpPr>
          <p:cNvPr id="10" name="TextBox 9">
            <a:extLst>
              <a:ext uri="{FF2B5EF4-FFF2-40B4-BE49-F238E27FC236}">
                <a16:creationId xmlns:a16="http://schemas.microsoft.com/office/drawing/2014/main" id="{954DF4AC-8F15-4605-8E67-F3210DD2797B}"/>
              </a:ext>
            </a:extLst>
          </p:cNvPr>
          <p:cNvSpPr txBox="1"/>
          <p:nvPr/>
        </p:nvSpPr>
        <p:spPr>
          <a:xfrm>
            <a:off x="434340" y="4822987"/>
            <a:ext cx="5227320" cy="1631216"/>
          </a:xfrm>
          <a:prstGeom prst="rect">
            <a:avLst/>
          </a:prstGeom>
          <a:noFill/>
        </p:spPr>
        <p:txBody>
          <a:bodyPr wrap="square">
            <a:spAutoFit/>
          </a:bodyPr>
          <a:lstStyle/>
          <a:p>
            <a:pPr algn="l"/>
            <a:r>
              <a:rPr lang="en-US" sz="2000" b="1" dirty="0">
                <a:solidFill>
                  <a:srgbClr val="273239"/>
                </a:solidFill>
              </a:rPr>
              <a:t>Cons</a:t>
            </a:r>
            <a:r>
              <a:rPr lang="en-US" sz="2000" dirty="0">
                <a:solidFill>
                  <a:srgbClr val="273239"/>
                </a:solidFill>
              </a:rPr>
              <a:t>:</a:t>
            </a:r>
          </a:p>
          <a:p>
            <a:pPr algn="l"/>
            <a:r>
              <a:rPr lang="en-US" sz="2000" dirty="0">
                <a:solidFill>
                  <a:srgbClr val="273239"/>
                </a:solidFill>
              </a:rPr>
              <a:t>Less emphasis on Non-Functional Requirement</a:t>
            </a:r>
          </a:p>
          <a:p>
            <a:pPr algn="l"/>
            <a:r>
              <a:rPr lang="en-US" sz="2000" dirty="0">
                <a:solidFill>
                  <a:srgbClr val="273239"/>
                </a:solidFill>
              </a:rPr>
              <a:t>Not good for Large projects as it focuses more on small- medium scale projects</a:t>
            </a:r>
          </a:p>
          <a:p>
            <a:pPr algn="l"/>
            <a:endParaRPr lang="en-US" sz="2000" dirty="0">
              <a:solidFill>
                <a:srgbClr val="273239"/>
              </a:solidFill>
            </a:endParaRPr>
          </a:p>
        </p:txBody>
      </p:sp>
      <p:pic>
        <p:nvPicPr>
          <p:cNvPr id="6" name="Picture 5">
            <a:extLst>
              <a:ext uri="{FF2B5EF4-FFF2-40B4-BE49-F238E27FC236}">
                <a16:creationId xmlns:a16="http://schemas.microsoft.com/office/drawing/2014/main" id="{90257017-253B-4570-9ED6-56E8FADCEDA4}"/>
              </a:ext>
            </a:extLst>
          </p:cNvPr>
          <p:cNvPicPr>
            <a:picLocks noChangeAspect="1"/>
          </p:cNvPicPr>
          <p:nvPr/>
        </p:nvPicPr>
        <p:blipFill>
          <a:blip r:embed="rId3"/>
          <a:stretch>
            <a:fillRect/>
          </a:stretch>
        </p:blipFill>
        <p:spPr>
          <a:xfrm>
            <a:off x="5709285" y="1951285"/>
            <a:ext cx="5305425" cy="3990975"/>
          </a:xfrm>
          <a:prstGeom prst="rect">
            <a:avLst/>
          </a:prstGeom>
        </p:spPr>
      </p:pic>
    </p:spTree>
    <p:extLst>
      <p:ext uri="{BB962C8B-B14F-4D97-AF65-F5344CB8AC3E}">
        <p14:creationId xmlns:p14="http://schemas.microsoft.com/office/powerpoint/2010/main" val="2993017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21600000">
                                      <p:cBhvr>
                                        <p:cTn id="6" dur="2000" fill="hold"/>
                                        <p:tgtEl>
                                          <p:spTgt spid="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56B2C21-A230-48C0-8DF1-C46611373C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847E18C-932D-4C95-AABA-FEC7C9499A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3150CB11-0C61-439E-910F-5787759E72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Freeform: Shape 20">
            <a:extLst>
              <a:ext uri="{FF2B5EF4-FFF2-40B4-BE49-F238E27FC236}">
                <a16:creationId xmlns:a16="http://schemas.microsoft.com/office/drawing/2014/main" id="{43F8A58B-5155-44CE-A5FF-7647B47D0A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3" name="Rectangle 22">
            <a:extLst>
              <a:ext uri="{FF2B5EF4-FFF2-40B4-BE49-F238E27FC236}">
                <a16:creationId xmlns:a16="http://schemas.microsoft.com/office/drawing/2014/main" id="{443F2ACA-E6D6-4028-82DD-F03C262D5D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5" y="1410079"/>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5798386E-8947-40E4-B619-90AD04DFD37C}"/>
              </a:ext>
            </a:extLst>
          </p:cNvPr>
          <p:cNvSpPr>
            <a:spLocks noGrp="1"/>
          </p:cNvSpPr>
          <p:nvPr>
            <p:ph type="title"/>
          </p:nvPr>
        </p:nvSpPr>
        <p:spPr>
          <a:xfrm>
            <a:off x="586478" y="1683756"/>
            <a:ext cx="3115265" cy="2396359"/>
          </a:xfrm>
        </p:spPr>
        <p:txBody>
          <a:bodyPr anchor="b">
            <a:normAutofit/>
          </a:bodyPr>
          <a:lstStyle/>
          <a:p>
            <a:pPr algn="r"/>
            <a:r>
              <a:rPr lang="en-US" sz="3100">
                <a:solidFill>
                  <a:srgbClr val="FFFFFF"/>
                </a:solidFill>
              </a:rPr>
              <a:t>Important Considerations while Project Planning</a:t>
            </a:r>
            <a:br>
              <a:rPr lang="en-US" sz="3100">
                <a:solidFill>
                  <a:srgbClr val="FFFFFF"/>
                </a:solidFill>
              </a:rPr>
            </a:br>
            <a:endParaRPr lang="en-IN" sz="3100">
              <a:solidFill>
                <a:srgbClr val="FFFFFF"/>
              </a:solidFill>
            </a:endParaRPr>
          </a:p>
        </p:txBody>
      </p:sp>
      <p:graphicFrame>
        <p:nvGraphicFramePr>
          <p:cNvPr id="9" name="Content Placeholder 2">
            <a:extLst>
              <a:ext uri="{FF2B5EF4-FFF2-40B4-BE49-F238E27FC236}">
                <a16:creationId xmlns:a16="http://schemas.microsoft.com/office/drawing/2014/main" id="{BC92FA17-05D0-4C1D-A1B9-01CFF6DBBE7A}"/>
              </a:ext>
            </a:extLst>
          </p:cNvPr>
          <p:cNvGraphicFramePr>
            <a:graphicFrameLocks noGrp="1"/>
          </p:cNvGraphicFramePr>
          <p:nvPr>
            <p:ph idx="1"/>
            <p:extLst>
              <p:ext uri="{D42A27DB-BD31-4B8C-83A1-F6EECF244321}">
                <p14:modId xmlns:p14="http://schemas.microsoft.com/office/powerpoint/2010/main" val="2051097838"/>
              </p:ext>
            </p:extLst>
          </p:nvPr>
        </p:nvGraphicFramePr>
        <p:xfrm>
          <a:off x="4905052" y="750440"/>
          <a:ext cx="6666833" cy="54539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65829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F3D59C-3B3E-4707-9F43-1E83C4D20074}"/>
              </a:ext>
            </a:extLst>
          </p:cNvPr>
          <p:cNvSpPr>
            <a:spLocks noGrp="1"/>
          </p:cNvSpPr>
          <p:nvPr>
            <p:ph type="title"/>
          </p:nvPr>
        </p:nvSpPr>
        <p:spPr/>
        <p:txBody>
          <a:bodyPr/>
          <a:lstStyle/>
          <a:p>
            <a:r>
              <a:rPr lang="en-US" sz="4400" dirty="0">
                <a:latin typeface="+mj-lt"/>
              </a:rPr>
              <a:t>Risk Management approach</a:t>
            </a:r>
          </a:p>
        </p:txBody>
      </p:sp>
      <p:sp>
        <p:nvSpPr>
          <p:cNvPr id="25" name="Arrow: Pentagon 24">
            <a:extLst>
              <a:ext uri="{FF2B5EF4-FFF2-40B4-BE49-F238E27FC236}">
                <a16:creationId xmlns:a16="http://schemas.microsoft.com/office/drawing/2014/main" id="{95A1D1B8-0C34-4370-9D0C-908AAC2B4A92}"/>
              </a:ext>
            </a:extLst>
          </p:cNvPr>
          <p:cNvSpPr/>
          <p:nvPr/>
        </p:nvSpPr>
        <p:spPr>
          <a:xfrm>
            <a:off x="63499" y="3775712"/>
            <a:ext cx="11960037" cy="790608"/>
          </a:xfrm>
          <a:prstGeom prst="homePlate">
            <a:avLst>
              <a:gd name="adj" fmla="val 110629"/>
            </a:avLst>
          </a:prstGeom>
          <a:solidFill>
            <a:schemeClr val="bg1">
              <a:lumMod val="8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6" name="Freeform: Shape 25">
            <a:extLst>
              <a:ext uri="{FF2B5EF4-FFF2-40B4-BE49-F238E27FC236}">
                <a16:creationId xmlns:a16="http://schemas.microsoft.com/office/drawing/2014/main" id="{903CAC01-F598-48D2-A7EC-41858151C820}"/>
              </a:ext>
            </a:extLst>
          </p:cNvPr>
          <p:cNvSpPr/>
          <p:nvPr/>
        </p:nvSpPr>
        <p:spPr>
          <a:xfrm rot="10800000">
            <a:off x="7769037" y="4644756"/>
            <a:ext cx="968824" cy="441844"/>
          </a:xfrm>
          <a:custGeom>
            <a:avLst/>
            <a:gdLst>
              <a:gd name="connsiteX0" fmla="*/ 389859 w 779718"/>
              <a:gd name="connsiteY0" fmla="*/ 0 h 355600"/>
              <a:gd name="connsiteX1" fmla="*/ 775560 w 779718"/>
              <a:gd name="connsiteY1" fmla="*/ 314356 h 355600"/>
              <a:gd name="connsiteX2" fmla="*/ 779718 w 779718"/>
              <a:gd name="connsiteY2" fmla="*/ 355600 h 355600"/>
              <a:gd name="connsiteX3" fmla="*/ 0 w 779718"/>
              <a:gd name="connsiteY3" fmla="*/ 355600 h 355600"/>
              <a:gd name="connsiteX4" fmla="*/ 4158 w 779718"/>
              <a:gd name="connsiteY4" fmla="*/ 314356 h 355600"/>
              <a:gd name="connsiteX5" fmla="*/ 389859 w 779718"/>
              <a:gd name="connsiteY5" fmla="*/ 0 h 3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9718" h="355600">
                <a:moveTo>
                  <a:pt x="389859" y="0"/>
                </a:moveTo>
                <a:cubicBezTo>
                  <a:pt x="580115" y="0"/>
                  <a:pt x="738850" y="134953"/>
                  <a:pt x="775560" y="314356"/>
                </a:cubicBezTo>
                <a:lnTo>
                  <a:pt x="779718" y="355600"/>
                </a:lnTo>
                <a:lnTo>
                  <a:pt x="0" y="355600"/>
                </a:lnTo>
                <a:lnTo>
                  <a:pt x="4158" y="314356"/>
                </a:lnTo>
                <a:cubicBezTo>
                  <a:pt x="40869" y="134953"/>
                  <a:pt x="199604" y="0"/>
                  <a:pt x="389859" y="0"/>
                </a:cubicBezTo>
                <a:close/>
              </a:path>
            </a:pathLst>
          </a:custGeom>
          <a:solidFill>
            <a:sysClr val="window" lastClr="FFFFFF">
              <a:lumMod val="75000"/>
            </a:sys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Freeform: Shape 26">
            <a:extLst>
              <a:ext uri="{FF2B5EF4-FFF2-40B4-BE49-F238E27FC236}">
                <a16:creationId xmlns:a16="http://schemas.microsoft.com/office/drawing/2014/main" id="{102F2FE6-7B0F-4BBF-94CF-FD0416300433}"/>
              </a:ext>
            </a:extLst>
          </p:cNvPr>
          <p:cNvSpPr/>
          <p:nvPr/>
        </p:nvSpPr>
        <p:spPr>
          <a:xfrm>
            <a:off x="5925349" y="3255433"/>
            <a:ext cx="968824" cy="441844"/>
          </a:xfrm>
          <a:custGeom>
            <a:avLst/>
            <a:gdLst>
              <a:gd name="connsiteX0" fmla="*/ 389859 w 779718"/>
              <a:gd name="connsiteY0" fmla="*/ 0 h 355600"/>
              <a:gd name="connsiteX1" fmla="*/ 775560 w 779718"/>
              <a:gd name="connsiteY1" fmla="*/ 314356 h 355600"/>
              <a:gd name="connsiteX2" fmla="*/ 779718 w 779718"/>
              <a:gd name="connsiteY2" fmla="*/ 355600 h 355600"/>
              <a:gd name="connsiteX3" fmla="*/ 0 w 779718"/>
              <a:gd name="connsiteY3" fmla="*/ 355600 h 355600"/>
              <a:gd name="connsiteX4" fmla="*/ 4158 w 779718"/>
              <a:gd name="connsiteY4" fmla="*/ 314356 h 355600"/>
              <a:gd name="connsiteX5" fmla="*/ 389859 w 779718"/>
              <a:gd name="connsiteY5" fmla="*/ 0 h 3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9718" h="355600">
                <a:moveTo>
                  <a:pt x="389859" y="0"/>
                </a:moveTo>
                <a:cubicBezTo>
                  <a:pt x="580115" y="0"/>
                  <a:pt x="738850" y="134953"/>
                  <a:pt x="775560" y="314356"/>
                </a:cubicBezTo>
                <a:lnTo>
                  <a:pt x="779718" y="355600"/>
                </a:lnTo>
                <a:lnTo>
                  <a:pt x="0" y="355600"/>
                </a:lnTo>
                <a:lnTo>
                  <a:pt x="4158" y="314356"/>
                </a:lnTo>
                <a:cubicBezTo>
                  <a:pt x="40869" y="134953"/>
                  <a:pt x="199604" y="0"/>
                  <a:pt x="389859" y="0"/>
                </a:cubicBezTo>
                <a:close/>
              </a:path>
            </a:pathLst>
          </a:custGeom>
          <a:solidFill>
            <a:sysClr val="window" lastClr="FFFFFF">
              <a:lumMod val="75000"/>
            </a:sys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8" name="Freeform: Shape 27">
            <a:extLst>
              <a:ext uri="{FF2B5EF4-FFF2-40B4-BE49-F238E27FC236}">
                <a16:creationId xmlns:a16="http://schemas.microsoft.com/office/drawing/2014/main" id="{E172D6A9-C630-4581-8A49-68FD5568E3CA}"/>
              </a:ext>
            </a:extLst>
          </p:cNvPr>
          <p:cNvSpPr/>
          <p:nvPr/>
        </p:nvSpPr>
        <p:spPr>
          <a:xfrm rot="10800000">
            <a:off x="2639673" y="4644755"/>
            <a:ext cx="968824" cy="441844"/>
          </a:xfrm>
          <a:custGeom>
            <a:avLst/>
            <a:gdLst>
              <a:gd name="connsiteX0" fmla="*/ 389859 w 779718"/>
              <a:gd name="connsiteY0" fmla="*/ 0 h 355600"/>
              <a:gd name="connsiteX1" fmla="*/ 775560 w 779718"/>
              <a:gd name="connsiteY1" fmla="*/ 314356 h 355600"/>
              <a:gd name="connsiteX2" fmla="*/ 779718 w 779718"/>
              <a:gd name="connsiteY2" fmla="*/ 355600 h 355600"/>
              <a:gd name="connsiteX3" fmla="*/ 0 w 779718"/>
              <a:gd name="connsiteY3" fmla="*/ 355600 h 355600"/>
              <a:gd name="connsiteX4" fmla="*/ 4158 w 779718"/>
              <a:gd name="connsiteY4" fmla="*/ 314356 h 355600"/>
              <a:gd name="connsiteX5" fmla="*/ 389859 w 779718"/>
              <a:gd name="connsiteY5" fmla="*/ 0 h 3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9718" h="355600">
                <a:moveTo>
                  <a:pt x="389859" y="0"/>
                </a:moveTo>
                <a:cubicBezTo>
                  <a:pt x="580115" y="0"/>
                  <a:pt x="738850" y="134953"/>
                  <a:pt x="775560" y="314356"/>
                </a:cubicBezTo>
                <a:lnTo>
                  <a:pt x="779718" y="355600"/>
                </a:lnTo>
                <a:lnTo>
                  <a:pt x="0" y="355600"/>
                </a:lnTo>
                <a:lnTo>
                  <a:pt x="4158" y="314356"/>
                </a:lnTo>
                <a:cubicBezTo>
                  <a:pt x="40869" y="134953"/>
                  <a:pt x="199604" y="0"/>
                  <a:pt x="389859" y="0"/>
                </a:cubicBezTo>
                <a:close/>
              </a:path>
            </a:pathLst>
          </a:custGeom>
          <a:solidFill>
            <a:sysClr val="window" lastClr="FFFFFF">
              <a:lumMod val="75000"/>
            </a:sys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9" name="Freeform: Shape 28">
            <a:extLst>
              <a:ext uri="{FF2B5EF4-FFF2-40B4-BE49-F238E27FC236}">
                <a16:creationId xmlns:a16="http://schemas.microsoft.com/office/drawing/2014/main" id="{072AA825-DE88-4029-8ABD-5637650D16D9}"/>
              </a:ext>
            </a:extLst>
          </p:cNvPr>
          <p:cNvSpPr/>
          <p:nvPr/>
        </p:nvSpPr>
        <p:spPr>
          <a:xfrm rot="10800000">
            <a:off x="63500" y="4644755"/>
            <a:ext cx="968824" cy="441844"/>
          </a:xfrm>
          <a:custGeom>
            <a:avLst/>
            <a:gdLst>
              <a:gd name="connsiteX0" fmla="*/ 389859 w 779718"/>
              <a:gd name="connsiteY0" fmla="*/ 0 h 355600"/>
              <a:gd name="connsiteX1" fmla="*/ 775560 w 779718"/>
              <a:gd name="connsiteY1" fmla="*/ 314356 h 355600"/>
              <a:gd name="connsiteX2" fmla="*/ 779718 w 779718"/>
              <a:gd name="connsiteY2" fmla="*/ 355600 h 355600"/>
              <a:gd name="connsiteX3" fmla="*/ 0 w 779718"/>
              <a:gd name="connsiteY3" fmla="*/ 355600 h 355600"/>
              <a:gd name="connsiteX4" fmla="*/ 4158 w 779718"/>
              <a:gd name="connsiteY4" fmla="*/ 314356 h 355600"/>
              <a:gd name="connsiteX5" fmla="*/ 389859 w 779718"/>
              <a:gd name="connsiteY5" fmla="*/ 0 h 3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9718" h="355600">
                <a:moveTo>
                  <a:pt x="389859" y="0"/>
                </a:moveTo>
                <a:cubicBezTo>
                  <a:pt x="580115" y="0"/>
                  <a:pt x="738850" y="134953"/>
                  <a:pt x="775560" y="314356"/>
                </a:cubicBezTo>
                <a:lnTo>
                  <a:pt x="779718" y="355600"/>
                </a:lnTo>
                <a:lnTo>
                  <a:pt x="0" y="355600"/>
                </a:lnTo>
                <a:lnTo>
                  <a:pt x="4158" y="314356"/>
                </a:lnTo>
                <a:cubicBezTo>
                  <a:pt x="40869" y="134953"/>
                  <a:pt x="199604" y="0"/>
                  <a:pt x="389859" y="0"/>
                </a:cubicBezTo>
                <a:close/>
              </a:path>
            </a:pathLst>
          </a:custGeom>
          <a:solidFill>
            <a:sysClr val="window" lastClr="FFFFFF">
              <a:lumMod val="75000"/>
            </a:sys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Freeform: Shape 29">
            <a:extLst>
              <a:ext uri="{FF2B5EF4-FFF2-40B4-BE49-F238E27FC236}">
                <a16:creationId xmlns:a16="http://schemas.microsoft.com/office/drawing/2014/main" id="{C1E61564-BA5B-4BCE-95F1-76850630FD1E}"/>
              </a:ext>
            </a:extLst>
          </p:cNvPr>
          <p:cNvSpPr/>
          <p:nvPr/>
        </p:nvSpPr>
        <p:spPr>
          <a:xfrm>
            <a:off x="3349176" y="3255433"/>
            <a:ext cx="968824" cy="441844"/>
          </a:xfrm>
          <a:custGeom>
            <a:avLst/>
            <a:gdLst>
              <a:gd name="connsiteX0" fmla="*/ 389859 w 779718"/>
              <a:gd name="connsiteY0" fmla="*/ 0 h 355600"/>
              <a:gd name="connsiteX1" fmla="*/ 775560 w 779718"/>
              <a:gd name="connsiteY1" fmla="*/ 314356 h 355600"/>
              <a:gd name="connsiteX2" fmla="*/ 779718 w 779718"/>
              <a:gd name="connsiteY2" fmla="*/ 355600 h 355600"/>
              <a:gd name="connsiteX3" fmla="*/ 0 w 779718"/>
              <a:gd name="connsiteY3" fmla="*/ 355600 h 355600"/>
              <a:gd name="connsiteX4" fmla="*/ 4158 w 779718"/>
              <a:gd name="connsiteY4" fmla="*/ 314356 h 355600"/>
              <a:gd name="connsiteX5" fmla="*/ 389859 w 779718"/>
              <a:gd name="connsiteY5" fmla="*/ 0 h 3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9718" h="355600">
                <a:moveTo>
                  <a:pt x="389859" y="0"/>
                </a:moveTo>
                <a:cubicBezTo>
                  <a:pt x="580115" y="0"/>
                  <a:pt x="738850" y="134953"/>
                  <a:pt x="775560" y="314356"/>
                </a:cubicBezTo>
                <a:lnTo>
                  <a:pt x="779718" y="355600"/>
                </a:lnTo>
                <a:lnTo>
                  <a:pt x="0" y="355600"/>
                </a:lnTo>
                <a:lnTo>
                  <a:pt x="4158" y="314356"/>
                </a:lnTo>
                <a:cubicBezTo>
                  <a:pt x="40869" y="134953"/>
                  <a:pt x="199604" y="0"/>
                  <a:pt x="389859" y="0"/>
                </a:cubicBezTo>
                <a:close/>
              </a:path>
            </a:pathLst>
          </a:custGeom>
          <a:solidFill>
            <a:sysClr val="window" lastClr="FFFFFF">
              <a:lumMod val="75000"/>
            </a:sys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1" name="Freeform: Shape 30">
            <a:extLst>
              <a:ext uri="{FF2B5EF4-FFF2-40B4-BE49-F238E27FC236}">
                <a16:creationId xmlns:a16="http://schemas.microsoft.com/office/drawing/2014/main" id="{809144B5-A1EA-46BC-8967-82E272CE383E}"/>
              </a:ext>
            </a:extLst>
          </p:cNvPr>
          <p:cNvSpPr/>
          <p:nvPr/>
        </p:nvSpPr>
        <p:spPr>
          <a:xfrm rot="10800000">
            <a:off x="5211520" y="4644756"/>
            <a:ext cx="968824" cy="441844"/>
          </a:xfrm>
          <a:custGeom>
            <a:avLst/>
            <a:gdLst>
              <a:gd name="connsiteX0" fmla="*/ 389859 w 779718"/>
              <a:gd name="connsiteY0" fmla="*/ 0 h 355600"/>
              <a:gd name="connsiteX1" fmla="*/ 775560 w 779718"/>
              <a:gd name="connsiteY1" fmla="*/ 314356 h 355600"/>
              <a:gd name="connsiteX2" fmla="*/ 779718 w 779718"/>
              <a:gd name="connsiteY2" fmla="*/ 355600 h 355600"/>
              <a:gd name="connsiteX3" fmla="*/ 0 w 779718"/>
              <a:gd name="connsiteY3" fmla="*/ 355600 h 355600"/>
              <a:gd name="connsiteX4" fmla="*/ 4158 w 779718"/>
              <a:gd name="connsiteY4" fmla="*/ 314356 h 355600"/>
              <a:gd name="connsiteX5" fmla="*/ 389859 w 779718"/>
              <a:gd name="connsiteY5" fmla="*/ 0 h 3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9718" h="355600">
                <a:moveTo>
                  <a:pt x="389859" y="0"/>
                </a:moveTo>
                <a:cubicBezTo>
                  <a:pt x="580115" y="0"/>
                  <a:pt x="738850" y="134953"/>
                  <a:pt x="775560" y="314356"/>
                </a:cubicBezTo>
                <a:lnTo>
                  <a:pt x="779718" y="355600"/>
                </a:lnTo>
                <a:lnTo>
                  <a:pt x="0" y="355600"/>
                </a:lnTo>
                <a:lnTo>
                  <a:pt x="4158" y="314356"/>
                </a:lnTo>
                <a:cubicBezTo>
                  <a:pt x="40869" y="134953"/>
                  <a:pt x="199604" y="0"/>
                  <a:pt x="389859" y="0"/>
                </a:cubicBezTo>
                <a:close/>
              </a:path>
            </a:pathLst>
          </a:custGeom>
          <a:solidFill>
            <a:sysClr val="window" lastClr="FFFFFF">
              <a:lumMod val="75000"/>
            </a:sys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2" name="Freeform: Shape 31">
            <a:extLst>
              <a:ext uri="{FF2B5EF4-FFF2-40B4-BE49-F238E27FC236}">
                <a16:creationId xmlns:a16="http://schemas.microsoft.com/office/drawing/2014/main" id="{009201CB-B0BC-426B-A96B-0B1E4FE121A8}"/>
              </a:ext>
            </a:extLst>
          </p:cNvPr>
          <p:cNvSpPr/>
          <p:nvPr/>
        </p:nvSpPr>
        <p:spPr>
          <a:xfrm>
            <a:off x="8497196" y="3255434"/>
            <a:ext cx="968824" cy="441844"/>
          </a:xfrm>
          <a:custGeom>
            <a:avLst/>
            <a:gdLst>
              <a:gd name="connsiteX0" fmla="*/ 389859 w 779718"/>
              <a:gd name="connsiteY0" fmla="*/ 0 h 355600"/>
              <a:gd name="connsiteX1" fmla="*/ 775560 w 779718"/>
              <a:gd name="connsiteY1" fmla="*/ 314356 h 355600"/>
              <a:gd name="connsiteX2" fmla="*/ 779718 w 779718"/>
              <a:gd name="connsiteY2" fmla="*/ 355600 h 355600"/>
              <a:gd name="connsiteX3" fmla="*/ 0 w 779718"/>
              <a:gd name="connsiteY3" fmla="*/ 355600 h 355600"/>
              <a:gd name="connsiteX4" fmla="*/ 4158 w 779718"/>
              <a:gd name="connsiteY4" fmla="*/ 314356 h 355600"/>
              <a:gd name="connsiteX5" fmla="*/ 389859 w 779718"/>
              <a:gd name="connsiteY5" fmla="*/ 0 h 3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9718" h="355600">
                <a:moveTo>
                  <a:pt x="389859" y="0"/>
                </a:moveTo>
                <a:cubicBezTo>
                  <a:pt x="580115" y="0"/>
                  <a:pt x="738850" y="134953"/>
                  <a:pt x="775560" y="314356"/>
                </a:cubicBezTo>
                <a:lnTo>
                  <a:pt x="779718" y="355600"/>
                </a:lnTo>
                <a:lnTo>
                  <a:pt x="0" y="355600"/>
                </a:lnTo>
                <a:lnTo>
                  <a:pt x="4158" y="314356"/>
                </a:lnTo>
                <a:cubicBezTo>
                  <a:pt x="40869" y="134953"/>
                  <a:pt x="199604" y="0"/>
                  <a:pt x="389859" y="0"/>
                </a:cubicBezTo>
                <a:close/>
              </a:path>
            </a:pathLst>
          </a:custGeom>
          <a:solidFill>
            <a:sysClr val="window" lastClr="FFFFFF">
              <a:lumMod val="75000"/>
            </a:sys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3" name="Freeform: Shape 32">
            <a:extLst>
              <a:ext uri="{FF2B5EF4-FFF2-40B4-BE49-F238E27FC236}">
                <a16:creationId xmlns:a16="http://schemas.microsoft.com/office/drawing/2014/main" id="{E4F7A795-3B7D-40DE-B280-BFC50D11EB12}"/>
              </a:ext>
            </a:extLst>
          </p:cNvPr>
          <p:cNvSpPr/>
          <p:nvPr/>
        </p:nvSpPr>
        <p:spPr>
          <a:xfrm>
            <a:off x="11054713" y="3255434"/>
            <a:ext cx="968824" cy="441844"/>
          </a:xfrm>
          <a:custGeom>
            <a:avLst/>
            <a:gdLst>
              <a:gd name="connsiteX0" fmla="*/ 389859 w 779718"/>
              <a:gd name="connsiteY0" fmla="*/ 0 h 355600"/>
              <a:gd name="connsiteX1" fmla="*/ 775560 w 779718"/>
              <a:gd name="connsiteY1" fmla="*/ 314356 h 355600"/>
              <a:gd name="connsiteX2" fmla="*/ 779718 w 779718"/>
              <a:gd name="connsiteY2" fmla="*/ 355600 h 355600"/>
              <a:gd name="connsiteX3" fmla="*/ 0 w 779718"/>
              <a:gd name="connsiteY3" fmla="*/ 355600 h 355600"/>
              <a:gd name="connsiteX4" fmla="*/ 4158 w 779718"/>
              <a:gd name="connsiteY4" fmla="*/ 314356 h 355600"/>
              <a:gd name="connsiteX5" fmla="*/ 389859 w 779718"/>
              <a:gd name="connsiteY5" fmla="*/ 0 h 3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9718" h="355600">
                <a:moveTo>
                  <a:pt x="389859" y="0"/>
                </a:moveTo>
                <a:cubicBezTo>
                  <a:pt x="580115" y="0"/>
                  <a:pt x="738850" y="134953"/>
                  <a:pt x="775560" y="314356"/>
                </a:cubicBezTo>
                <a:lnTo>
                  <a:pt x="779718" y="355600"/>
                </a:lnTo>
                <a:lnTo>
                  <a:pt x="0" y="355600"/>
                </a:lnTo>
                <a:lnTo>
                  <a:pt x="4158" y="314356"/>
                </a:lnTo>
                <a:cubicBezTo>
                  <a:pt x="40869" y="134953"/>
                  <a:pt x="199604" y="0"/>
                  <a:pt x="389859" y="0"/>
                </a:cubicBezTo>
                <a:close/>
              </a:path>
            </a:pathLst>
          </a:custGeom>
          <a:solidFill>
            <a:sysClr val="window" lastClr="FFFFFF">
              <a:lumMod val="75000"/>
            </a:sys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33">
            <a:extLst>
              <a:ext uri="{FF2B5EF4-FFF2-40B4-BE49-F238E27FC236}">
                <a16:creationId xmlns:a16="http://schemas.microsoft.com/office/drawing/2014/main" id="{8E2864F4-F78C-44AF-A9FE-8D78E466A967}"/>
              </a:ext>
            </a:extLst>
          </p:cNvPr>
          <p:cNvSpPr/>
          <p:nvPr/>
        </p:nvSpPr>
        <p:spPr>
          <a:xfrm rot="7284510">
            <a:off x="544070" y="3243722"/>
            <a:ext cx="3274708" cy="1872070"/>
          </a:xfrm>
          <a:custGeom>
            <a:avLst/>
            <a:gdLst>
              <a:gd name="connsiteX0" fmla="*/ 1315138 w 3274708"/>
              <a:gd name="connsiteY0" fmla="*/ 1716595 h 1872070"/>
              <a:gd name="connsiteX1" fmla="*/ 2918016 w 3274708"/>
              <a:gd name="connsiteY1" fmla="*/ 1716594 h 1872070"/>
              <a:gd name="connsiteX2" fmla="*/ 2926366 w 3274708"/>
              <a:gd name="connsiteY2" fmla="*/ 1717436 h 1872070"/>
              <a:gd name="connsiteX3" fmla="*/ 3180288 w 3274708"/>
              <a:gd name="connsiteY3" fmla="*/ 1717436 h 1872070"/>
              <a:gd name="connsiteX4" fmla="*/ 3274708 w 3274708"/>
              <a:gd name="connsiteY4" fmla="*/ 1872070 h 1872070"/>
              <a:gd name="connsiteX5" fmla="*/ 3265022 w 3274708"/>
              <a:gd name="connsiteY5" fmla="*/ 1860329 h 1872070"/>
              <a:gd name="connsiteX6" fmla="*/ 3016916 w 3274708"/>
              <a:gd name="connsiteY6" fmla="*/ 1726564 h 1872070"/>
              <a:gd name="connsiteX7" fmla="*/ 2926365 w 3274708"/>
              <a:gd name="connsiteY7" fmla="*/ 1717436 h 1872070"/>
              <a:gd name="connsiteX8" fmla="*/ 1323489 w 3274708"/>
              <a:gd name="connsiteY8" fmla="*/ 1717436 h 1872070"/>
              <a:gd name="connsiteX9" fmla="*/ 119766 w 3274708"/>
              <a:gd name="connsiteY9" fmla="*/ 196144 h 1872070"/>
              <a:gd name="connsiteX10" fmla="*/ 0 w 3274708"/>
              <a:gd name="connsiteY10" fmla="*/ 0 h 1872070"/>
              <a:gd name="connsiteX11" fmla="*/ 46256 w 3274708"/>
              <a:gd name="connsiteY11" fmla="*/ 56064 h 1872070"/>
              <a:gd name="connsiteX12" fmla="*/ 294362 w 3274708"/>
              <a:gd name="connsiteY12" fmla="*/ 189828 h 1872070"/>
              <a:gd name="connsiteX13" fmla="*/ 357008 w 3274708"/>
              <a:gd name="connsiteY13" fmla="*/ 196143 h 1872070"/>
              <a:gd name="connsiteX14" fmla="*/ 357018 w 3274708"/>
              <a:gd name="connsiteY14" fmla="*/ 196143 h 1872070"/>
              <a:gd name="connsiteX15" fmla="*/ 357038 w 3274708"/>
              <a:gd name="connsiteY15" fmla="*/ 196145 h 1872070"/>
              <a:gd name="connsiteX16" fmla="*/ 1993168 w 3274708"/>
              <a:gd name="connsiteY16" fmla="*/ 196145 h 1872070"/>
              <a:gd name="connsiteX17" fmla="*/ 2029412 w 3274708"/>
              <a:gd name="connsiteY17" fmla="*/ 199798 h 1872070"/>
              <a:gd name="connsiteX18" fmla="*/ 2029425 w 3274708"/>
              <a:gd name="connsiteY18" fmla="*/ 199798 h 1872070"/>
              <a:gd name="connsiteX19" fmla="*/ 2092070 w 3274708"/>
              <a:gd name="connsiteY19" fmla="*/ 206113 h 1872070"/>
              <a:gd name="connsiteX20" fmla="*/ 2267547 w 3274708"/>
              <a:gd name="connsiteY20" fmla="*/ 279954 h 1872070"/>
              <a:gd name="connsiteX21" fmla="*/ 2338100 w 3274708"/>
              <a:gd name="connsiteY21" fmla="*/ 338166 h 1872070"/>
              <a:gd name="connsiteX22" fmla="*/ 2402584 w 3274708"/>
              <a:gd name="connsiteY22" fmla="*/ 443772 h 1872070"/>
              <a:gd name="connsiteX23" fmla="*/ 1323490 w 3274708"/>
              <a:gd name="connsiteY23" fmla="*/ 443772 h 1872070"/>
              <a:gd name="connsiteX24" fmla="*/ 1049112 w 3274708"/>
              <a:gd name="connsiteY24" fmla="*/ 527583 h 1872070"/>
              <a:gd name="connsiteX25" fmla="*/ 1049111 w 3274708"/>
              <a:gd name="connsiteY25" fmla="*/ 527583 h 1872070"/>
              <a:gd name="connsiteX26" fmla="*/ 1132469 w 3274708"/>
              <a:gd name="connsiteY26" fmla="*/ 482338 h 1872070"/>
              <a:gd name="connsiteX27" fmla="*/ 1323488 w 3274708"/>
              <a:gd name="connsiteY27" fmla="*/ 443773 h 1872070"/>
              <a:gd name="connsiteX28" fmla="*/ 2402582 w 3274708"/>
              <a:gd name="connsiteY28" fmla="*/ 443773 h 1872070"/>
              <a:gd name="connsiteX29" fmla="*/ 2456671 w 3274708"/>
              <a:gd name="connsiteY29" fmla="*/ 532354 h 1872070"/>
              <a:gd name="connsiteX30" fmla="*/ 2473940 w 3274708"/>
              <a:gd name="connsiteY30" fmla="*/ 587984 h 1872070"/>
              <a:gd name="connsiteX31" fmla="*/ 2483910 w 3274708"/>
              <a:gd name="connsiteY31" fmla="*/ 686886 h 1872070"/>
              <a:gd name="connsiteX32" fmla="*/ 2483909 w 3274708"/>
              <a:gd name="connsiteY32" fmla="*/ 979064 h 1872070"/>
              <a:gd name="connsiteX33" fmla="*/ 2400098 w 3274708"/>
              <a:gd name="connsiteY33" fmla="*/ 1253442 h 1872070"/>
              <a:gd name="connsiteX34" fmla="*/ 2340174 w 3274708"/>
              <a:gd name="connsiteY34" fmla="*/ 1326071 h 1872070"/>
              <a:gd name="connsiteX35" fmla="*/ 2340175 w 3274708"/>
              <a:gd name="connsiteY35" fmla="*/ 1326070 h 1872070"/>
              <a:gd name="connsiteX36" fmla="*/ 2483910 w 3274708"/>
              <a:gd name="connsiteY36" fmla="*/ 979063 h 1872070"/>
              <a:gd name="connsiteX37" fmla="*/ 2483911 w 3274708"/>
              <a:gd name="connsiteY37" fmla="*/ 686885 h 1872070"/>
              <a:gd name="connsiteX38" fmla="*/ 2473941 w 3274708"/>
              <a:gd name="connsiteY38" fmla="*/ 587983 h 1872070"/>
              <a:gd name="connsiteX39" fmla="*/ 2456672 w 3274708"/>
              <a:gd name="connsiteY39" fmla="*/ 532353 h 1872070"/>
              <a:gd name="connsiteX40" fmla="*/ 3180290 w 3274708"/>
              <a:gd name="connsiteY40" fmla="*/ 1717434 h 1872070"/>
              <a:gd name="connsiteX41" fmla="*/ 2926367 w 3274708"/>
              <a:gd name="connsiteY41" fmla="*/ 1717434 h 1872070"/>
              <a:gd name="connsiteX42" fmla="*/ 2918017 w 3274708"/>
              <a:gd name="connsiteY42" fmla="*/ 1716592 h 1872070"/>
              <a:gd name="connsiteX43" fmla="*/ 1315139 w 3274708"/>
              <a:gd name="connsiteY43" fmla="*/ 1716593 h 1872070"/>
              <a:gd name="connsiteX44" fmla="*/ 1224588 w 3274708"/>
              <a:gd name="connsiteY44" fmla="*/ 1707464 h 1872070"/>
              <a:gd name="connsiteX45" fmla="*/ 976482 w 3274708"/>
              <a:gd name="connsiteY45" fmla="*/ 1573699 h 1872070"/>
              <a:gd name="connsiteX46" fmla="*/ 916581 w 3274708"/>
              <a:gd name="connsiteY46" fmla="*/ 1501097 h 1872070"/>
              <a:gd name="connsiteX47" fmla="*/ 916512 w 3274708"/>
              <a:gd name="connsiteY47" fmla="*/ 1500984 h 1872070"/>
              <a:gd name="connsiteX48" fmla="*/ 899589 w 3274708"/>
              <a:gd name="connsiteY48" fmla="*/ 1469807 h 1872070"/>
              <a:gd name="connsiteX49" fmla="*/ 899587 w 3274708"/>
              <a:gd name="connsiteY49" fmla="*/ 1469807 h 1872070"/>
              <a:gd name="connsiteX50" fmla="*/ 899586 w 3274708"/>
              <a:gd name="connsiteY50" fmla="*/ 1469805 h 1872070"/>
              <a:gd name="connsiteX51" fmla="*/ 897474 w 3274708"/>
              <a:gd name="connsiteY51" fmla="*/ 1469805 h 1872070"/>
              <a:gd name="connsiteX52" fmla="*/ 119769 w 3274708"/>
              <a:gd name="connsiteY52" fmla="*/ 196144 h 1872070"/>
              <a:gd name="connsiteX53" fmla="*/ 916511 w 3274708"/>
              <a:gd name="connsiteY53" fmla="*/ 1500987 h 1872070"/>
              <a:gd name="connsiteX54" fmla="*/ 897473 w 3274708"/>
              <a:gd name="connsiteY54" fmla="*/ 1469808 h 1872070"/>
              <a:gd name="connsiteX55" fmla="*/ 899587 w 3274708"/>
              <a:gd name="connsiteY55" fmla="*/ 1469808 h 1872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274708" h="1872070">
                <a:moveTo>
                  <a:pt x="1315138" y="1716595"/>
                </a:moveTo>
                <a:lnTo>
                  <a:pt x="2918016" y="1716594"/>
                </a:lnTo>
                <a:lnTo>
                  <a:pt x="2926366" y="1717436"/>
                </a:lnTo>
                <a:lnTo>
                  <a:pt x="3180288" y="1717436"/>
                </a:lnTo>
                <a:lnTo>
                  <a:pt x="3274708" y="1872070"/>
                </a:lnTo>
                <a:lnTo>
                  <a:pt x="3265022" y="1860329"/>
                </a:lnTo>
                <a:cubicBezTo>
                  <a:pt x="3198417" y="1793724"/>
                  <a:pt x="3112755" y="1746176"/>
                  <a:pt x="3016916" y="1726564"/>
                </a:cubicBezTo>
                <a:lnTo>
                  <a:pt x="2926365" y="1717436"/>
                </a:lnTo>
                <a:lnTo>
                  <a:pt x="1323489" y="1717436"/>
                </a:lnTo>
                <a:close/>
                <a:moveTo>
                  <a:pt x="119766" y="196144"/>
                </a:moveTo>
                <a:lnTo>
                  <a:pt x="0" y="0"/>
                </a:lnTo>
                <a:lnTo>
                  <a:pt x="46256" y="56064"/>
                </a:lnTo>
                <a:cubicBezTo>
                  <a:pt x="112862" y="122669"/>
                  <a:pt x="198524" y="170217"/>
                  <a:pt x="294362" y="189828"/>
                </a:cubicBezTo>
                <a:lnTo>
                  <a:pt x="357008" y="196143"/>
                </a:lnTo>
                <a:lnTo>
                  <a:pt x="357018" y="196143"/>
                </a:lnTo>
                <a:lnTo>
                  <a:pt x="357038" y="196145"/>
                </a:lnTo>
                <a:lnTo>
                  <a:pt x="1993168" y="196145"/>
                </a:lnTo>
                <a:lnTo>
                  <a:pt x="2029412" y="199798"/>
                </a:lnTo>
                <a:lnTo>
                  <a:pt x="2029425" y="199798"/>
                </a:lnTo>
                <a:lnTo>
                  <a:pt x="2092070" y="206113"/>
                </a:lnTo>
                <a:cubicBezTo>
                  <a:pt x="2155962" y="219188"/>
                  <a:pt x="2215332" y="244678"/>
                  <a:pt x="2267547" y="279954"/>
                </a:cubicBezTo>
                <a:lnTo>
                  <a:pt x="2338100" y="338166"/>
                </a:lnTo>
                <a:lnTo>
                  <a:pt x="2402584" y="443772"/>
                </a:lnTo>
                <a:lnTo>
                  <a:pt x="1323490" y="443772"/>
                </a:lnTo>
                <a:cubicBezTo>
                  <a:pt x="1221854" y="443772"/>
                  <a:pt x="1127434" y="474669"/>
                  <a:pt x="1049112" y="527583"/>
                </a:cubicBezTo>
                <a:lnTo>
                  <a:pt x="1049111" y="527583"/>
                </a:lnTo>
                <a:lnTo>
                  <a:pt x="1132469" y="482338"/>
                </a:lnTo>
                <a:cubicBezTo>
                  <a:pt x="1191181" y="457505"/>
                  <a:pt x="1255731" y="443773"/>
                  <a:pt x="1323488" y="443773"/>
                </a:cubicBezTo>
                <a:lnTo>
                  <a:pt x="2402582" y="443773"/>
                </a:lnTo>
                <a:lnTo>
                  <a:pt x="2456671" y="532354"/>
                </a:lnTo>
                <a:lnTo>
                  <a:pt x="2473940" y="587984"/>
                </a:lnTo>
                <a:cubicBezTo>
                  <a:pt x="2480477" y="619931"/>
                  <a:pt x="2483910" y="653008"/>
                  <a:pt x="2483910" y="686886"/>
                </a:cubicBezTo>
                <a:lnTo>
                  <a:pt x="2483909" y="979064"/>
                </a:lnTo>
                <a:cubicBezTo>
                  <a:pt x="2483909" y="1080700"/>
                  <a:pt x="2453012" y="1175119"/>
                  <a:pt x="2400098" y="1253442"/>
                </a:cubicBezTo>
                <a:lnTo>
                  <a:pt x="2340174" y="1326071"/>
                </a:lnTo>
                <a:lnTo>
                  <a:pt x="2340175" y="1326070"/>
                </a:lnTo>
                <a:cubicBezTo>
                  <a:pt x="2428982" y="1237263"/>
                  <a:pt x="2483910" y="1114577"/>
                  <a:pt x="2483910" y="979063"/>
                </a:cubicBezTo>
                <a:lnTo>
                  <a:pt x="2483911" y="686885"/>
                </a:lnTo>
                <a:cubicBezTo>
                  <a:pt x="2483911" y="653007"/>
                  <a:pt x="2480478" y="619930"/>
                  <a:pt x="2473941" y="587983"/>
                </a:cubicBezTo>
                <a:lnTo>
                  <a:pt x="2456672" y="532353"/>
                </a:lnTo>
                <a:lnTo>
                  <a:pt x="3180290" y="1717434"/>
                </a:lnTo>
                <a:lnTo>
                  <a:pt x="2926367" y="1717434"/>
                </a:lnTo>
                <a:lnTo>
                  <a:pt x="2918017" y="1716592"/>
                </a:lnTo>
                <a:lnTo>
                  <a:pt x="1315139" y="1716593"/>
                </a:lnTo>
                <a:lnTo>
                  <a:pt x="1224588" y="1707464"/>
                </a:lnTo>
                <a:cubicBezTo>
                  <a:pt x="1128750" y="1687852"/>
                  <a:pt x="1043088" y="1640304"/>
                  <a:pt x="976482" y="1573699"/>
                </a:cubicBezTo>
                <a:lnTo>
                  <a:pt x="916581" y="1501097"/>
                </a:lnTo>
                <a:lnTo>
                  <a:pt x="916512" y="1500984"/>
                </a:lnTo>
                <a:lnTo>
                  <a:pt x="899589" y="1469807"/>
                </a:lnTo>
                <a:lnTo>
                  <a:pt x="899587" y="1469807"/>
                </a:lnTo>
                <a:lnTo>
                  <a:pt x="899586" y="1469805"/>
                </a:lnTo>
                <a:lnTo>
                  <a:pt x="897474" y="1469805"/>
                </a:lnTo>
                <a:lnTo>
                  <a:pt x="119769" y="196144"/>
                </a:lnTo>
                <a:close/>
                <a:moveTo>
                  <a:pt x="916511" y="1500987"/>
                </a:moveTo>
                <a:lnTo>
                  <a:pt x="897473" y="1469808"/>
                </a:lnTo>
                <a:lnTo>
                  <a:pt x="899587" y="1469808"/>
                </a:lnTo>
                <a:close/>
              </a:path>
            </a:pathLst>
          </a:custGeom>
          <a:gradFill>
            <a:gsLst>
              <a:gs pos="70000">
                <a:srgbClr val="FF9F9F"/>
              </a:gs>
              <a:gs pos="37000">
                <a:srgbClr val="FF0000"/>
              </a:gs>
              <a:gs pos="30000">
                <a:srgbClr val="FF9F9F"/>
              </a:gs>
              <a:gs pos="62000">
                <a:srgbClr val="FF0000"/>
              </a:gs>
              <a:gs pos="21000">
                <a:srgbClr val="C00000"/>
              </a:gs>
              <a:gs pos="77000">
                <a:srgbClr val="C00000"/>
              </a:gs>
            </a:gsLst>
            <a:lin ang="900000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9F4AF94B-E5BA-4E0A-9EE1-A3828EF03787}"/>
              </a:ext>
            </a:extLst>
          </p:cNvPr>
          <p:cNvSpPr/>
          <p:nvPr/>
        </p:nvSpPr>
        <p:spPr>
          <a:xfrm rot="7284510">
            <a:off x="3120244" y="3243723"/>
            <a:ext cx="3274708" cy="1872070"/>
          </a:xfrm>
          <a:custGeom>
            <a:avLst/>
            <a:gdLst>
              <a:gd name="connsiteX0" fmla="*/ 1315138 w 3274708"/>
              <a:gd name="connsiteY0" fmla="*/ 1716595 h 1872070"/>
              <a:gd name="connsiteX1" fmla="*/ 2918016 w 3274708"/>
              <a:gd name="connsiteY1" fmla="*/ 1716594 h 1872070"/>
              <a:gd name="connsiteX2" fmla="*/ 2926366 w 3274708"/>
              <a:gd name="connsiteY2" fmla="*/ 1717436 h 1872070"/>
              <a:gd name="connsiteX3" fmla="*/ 3180288 w 3274708"/>
              <a:gd name="connsiteY3" fmla="*/ 1717436 h 1872070"/>
              <a:gd name="connsiteX4" fmla="*/ 3274708 w 3274708"/>
              <a:gd name="connsiteY4" fmla="*/ 1872070 h 1872070"/>
              <a:gd name="connsiteX5" fmla="*/ 3265022 w 3274708"/>
              <a:gd name="connsiteY5" fmla="*/ 1860329 h 1872070"/>
              <a:gd name="connsiteX6" fmla="*/ 3016916 w 3274708"/>
              <a:gd name="connsiteY6" fmla="*/ 1726564 h 1872070"/>
              <a:gd name="connsiteX7" fmla="*/ 2926365 w 3274708"/>
              <a:gd name="connsiteY7" fmla="*/ 1717436 h 1872070"/>
              <a:gd name="connsiteX8" fmla="*/ 1323489 w 3274708"/>
              <a:gd name="connsiteY8" fmla="*/ 1717436 h 1872070"/>
              <a:gd name="connsiteX9" fmla="*/ 119766 w 3274708"/>
              <a:gd name="connsiteY9" fmla="*/ 196144 h 1872070"/>
              <a:gd name="connsiteX10" fmla="*/ 0 w 3274708"/>
              <a:gd name="connsiteY10" fmla="*/ 0 h 1872070"/>
              <a:gd name="connsiteX11" fmla="*/ 46256 w 3274708"/>
              <a:gd name="connsiteY11" fmla="*/ 56064 h 1872070"/>
              <a:gd name="connsiteX12" fmla="*/ 294362 w 3274708"/>
              <a:gd name="connsiteY12" fmla="*/ 189828 h 1872070"/>
              <a:gd name="connsiteX13" fmla="*/ 357008 w 3274708"/>
              <a:gd name="connsiteY13" fmla="*/ 196143 h 1872070"/>
              <a:gd name="connsiteX14" fmla="*/ 357018 w 3274708"/>
              <a:gd name="connsiteY14" fmla="*/ 196143 h 1872070"/>
              <a:gd name="connsiteX15" fmla="*/ 357038 w 3274708"/>
              <a:gd name="connsiteY15" fmla="*/ 196145 h 1872070"/>
              <a:gd name="connsiteX16" fmla="*/ 1993168 w 3274708"/>
              <a:gd name="connsiteY16" fmla="*/ 196145 h 1872070"/>
              <a:gd name="connsiteX17" fmla="*/ 2029412 w 3274708"/>
              <a:gd name="connsiteY17" fmla="*/ 199798 h 1872070"/>
              <a:gd name="connsiteX18" fmla="*/ 2029425 w 3274708"/>
              <a:gd name="connsiteY18" fmla="*/ 199798 h 1872070"/>
              <a:gd name="connsiteX19" fmla="*/ 2092070 w 3274708"/>
              <a:gd name="connsiteY19" fmla="*/ 206113 h 1872070"/>
              <a:gd name="connsiteX20" fmla="*/ 2267547 w 3274708"/>
              <a:gd name="connsiteY20" fmla="*/ 279954 h 1872070"/>
              <a:gd name="connsiteX21" fmla="*/ 2338100 w 3274708"/>
              <a:gd name="connsiteY21" fmla="*/ 338166 h 1872070"/>
              <a:gd name="connsiteX22" fmla="*/ 2402584 w 3274708"/>
              <a:gd name="connsiteY22" fmla="*/ 443772 h 1872070"/>
              <a:gd name="connsiteX23" fmla="*/ 1323490 w 3274708"/>
              <a:gd name="connsiteY23" fmla="*/ 443772 h 1872070"/>
              <a:gd name="connsiteX24" fmla="*/ 1049112 w 3274708"/>
              <a:gd name="connsiteY24" fmla="*/ 527583 h 1872070"/>
              <a:gd name="connsiteX25" fmla="*/ 1049111 w 3274708"/>
              <a:gd name="connsiteY25" fmla="*/ 527583 h 1872070"/>
              <a:gd name="connsiteX26" fmla="*/ 1132469 w 3274708"/>
              <a:gd name="connsiteY26" fmla="*/ 482338 h 1872070"/>
              <a:gd name="connsiteX27" fmla="*/ 1323488 w 3274708"/>
              <a:gd name="connsiteY27" fmla="*/ 443773 h 1872070"/>
              <a:gd name="connsiteX28" fmla="*/ 2402582 w 3274708"/>
              <a:gd name="connsiteY28" fmla="*/ 443773 h 1872070"/>
              <a:gd name="connsiteX29" fmla="*/ 2456671 w 3274708"/>
              <a:gd name="connsiteY29" fmla="*/ 532354 h 1872070"/>
              <a:gd name="connsiteX30" fmla="*/ 2473940 w 3274708"/>
              <a:gd name="connsiteY30" fmla="*/ 587984 h 1872070"/>
              <a:gd name="connsiteX31" fmla="*/ 2483910 w 3274708"/>
              <a:gd name="connsiteY31" fmla="*/ 686886 h 1872070"/>
              <a:gd name="connsiteX32" fmla="*/ 2483909 w 3274708"/>
              <a:gd name="connsiteY32" fmla="*/ 979064 h 1872070"/>
              <a:gd name="connsiteX33" fmla="*/ 2400098 w 3274708"/>
              <a:gd name="connsiteY33" fmla="*/ 1253442 h 1872070"/>
              <a:gd name="connsiteX34" fmla="*/ 2340174 w 3274708"/>
              <a:gd name="connsiteY34" fmla="*/ 1326071 h 1872070"/>
              <a:gd name="connsiteX35" fmla="*/ 2340175 w 3274708"/>
              <a:gd name="connsiteY35" fmla="*/ 1326070 h 1872070"/>
              <a:gd name="connsiteX36" fmla="*/ 2483910 w 3274708"/>
              <a:gd name="connsiteY36" fmla="*/ 979063 h 1872070"/>
              <a:gd name="connsiteX37" fmla="*/ 2483911 w 3274708"/>
              <a:gd name="connsiteY37" fmla="*/ 686885 h 1872070"/>
              <a:gd name="connsiteX38" fmla="*/ 2473941 w 3274708"/>
              <a:gd name="connsiteY38" fmla="*/ 587983 h 1872070"/>
              <a:gd name="connsiteX39" fmla="*/ 2456672 w 3274708"/>
              <a:gd name="connsiteY39" fmla="*/ 532353 h 1872070"/>
              <a:gd name="connsiteX40" fmla="*/ 3180290 w 3274708"/>
              <a:gd name="connsiteY40" fmla="*/ 1717434 h 1872070"/>
              <a:gd name="connsiteX41" fmla="*/ 2926367 w 3274708"/>
              <a:gd name="connsiteY41" fmla="*/ 1717434 h 1872070"/>
              <a:gd name="connsiteX42" fmla="*/ 2918017 w 3274708"/>
              <a:gd name="connsiteY42" fmla="*/ 1716592 h 1872070"/>
              <a:gd name="connsiteX43" fmla="*/ 1315139 w 3274708"/>
              <a:gd name="connsiteY43" fmla="*/ 1716593 h 1872070"/>
              <a:gd name="connsiteX44" fmla="*/ 1224588 w 3274708"/>
              <a:gd name="connsiteY44" fmla="*/ 1707464 h 1872070"/>
              <a:gd name="connsiteX45" fmla="*/ 976482 w 3274708"/>
              <a:gd name="connsiteY45" fmla="*/ 1573699 h 1872070"/>
              <a:gd name="connsiteX46" fmla="*/ 916581 w 3274708"/>
              <a:gd name="connsiteY46" fmla="*/ 1501097 h 1872070"/>
              <a:gd name="connsiteX47" fmla="*/ 916512 w 3274708"/>
              <a:gd name="connsiteY47" fmla="*/ 1500984 h 1872070"/>
              <a:gd name="connsiteX48" fmla="*/ 899589 w 3274708"/>
              <a:gd name="connsiteY48" fmla="*/ 1469807 h 1872070"/>
              <a:gd name="connsiteX49" fmla="*/ 899587 w 3274708"/>
              <a:gd name="connsiteY49" fmla="*/ 1469807 h 1872070"/>
              <a:gd name="connsiteX50" fmla="*/ 899586 w 3274708"/>
              <a:gd name="connsiteY50" fmla="*/ 1469805 h 1872070"/>
              <a:gd name="connsiteX51" fmla="*/ 897474 w 3274708"/>
              <a:gd name="connsiteY51" fmla="*/ 1469805 h 1872070"/>
              <a:gd name="connsiteX52" fmla="*/ 119769 w 3274708"/>
              <a:gd name="connsiteY52" fmla="*/ 196144 h 1872070"/>
              <a:gd name="connsiteX53" fmla="*/ 916511 w 3274708"/>
              <a:gd name="connsiteY53" fmla="*/ 1500987 h 1872070"/>
              <a:gd name="connsiteX54" fmla="*/ 897473 w 3274708"/>
              <a:gd name="connsiteY54" fmla="*/ 1469808 h 1872070"/>
              <a:gd name="connsiteX55" fmla="*/ 899587 w 3274708"/>
              <a:gd name="connsiteY55" fmla="*/ 1469808 h 1872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274708" h="1872070">
                <a:moveTo>
                  <a:pt x="1315138" y="1716595"/>
                </a:moveTo>
                <a:lnTo>
                  <a:pt x="2918016" y="1716594"/>
                </a:lnTo>
                <a:lnTo>
                  <a:pt x="2926366" y="1717436"/>
                </a:lnTo>
                <a:lnTo>
                  <a:pt x="3180288" y="1717436"/>
                </a:lnTo>
                <a:lnTo>
                  <a:pt x="3274708" y="1872070"/>
                </a:lnTo>
                <a:lnTo>
                  <a:pt x="3265022" y="1860329"/>
                </a:lnTo>
                <a:cubicBezTo>
                  <a:pt x="3198417" y="1793724"/>
                  <a:pt x="3112755" y="1746176"/>
                  <a:pt x="3016916" y="1726564"/>
                </a:cubicBezTo>
                <a:lnTo>
                  <a:pt x="2926365" y="1717436"/>
                </a:lnTo>
                <a:lnTo>
                  <a:pt x="1323489" y="1717436"/>
                </a:lnTo>
                <a:close/>
                <a:moveTo>
                  <a:pt x="119766" y="196144"/>
                </a:moveTo>
                <a:lnTo>
                  <a:pt x="0" y="0"/>
                </a:lnTo>
                <a:lnTo>
                  <a:pt x="46256" y="56064"/>
                </a:lnTo>
                <a:cubicBezTo>
                  <a:pt x="112862" y="122669"/>
                  <a:pt x="198524" y="170217"/>
                  <a:pt x="294362" y="189828"/>
                </a:cubicBezTo>
                <a:lnTo>
                  <a:pt x="357008" y="196143"/>
                </a:lnTo>
                <a:lnTo>
                  <a:pt x="357018" y="196143"/>
                </a:lnTo>
                <a:lnTo>
                  <a:pt x="357038" y="196145"/>
                </a:lnTo>
                <a:lnTo>
                  <a:pt x="1993168" y="196145"/>
                </a:lnTo>
                <a:lnTo>
                  <a:pt x="2029412" y="199798"/>
                </a:lnTo>
                <a:lnTo>
                  <a:pt x="2029425" y="199798"/>
                </a:lnTo>
                <a:lnTo>
                  <a:pt x="2092070" y="206113"/>
                </a:lnTo>
                <a:cubicBezTo>
                  <a:pt x="2155962" y="219188"/>
                  <a:pt x="2215332" y="244678"/>
                  <a:pt x="2267547" y="279954"/>
                </a:cubicBezTo>
                <a:lnTo>
                  <a:pt x="2338100" y="338166"/>
                </a:lnTo>
                <a:lnTo>
                  <a:pt x="2402584" y="443772"/>
                </a:lnTo>
                <a:lnTo>
                  <a:pt x="1323490" y="443772"/>
                </a:lnTo>
                <a:cubicBezTo>
                  <a:pt x="1221854" y="443772"/>
                  <a:pt x="1127434" y="474669"/>
                  <a:pt x="1049112" y="527583"/>
                </a:cubicBezTo>
                <a:lnTo>
                  <a:pt x="1049111" y="527583"/>
                </a:lnTo>
                <a:lnTo>
                  <a:pt x="1132469" y="482338"/>
                </a:lnTo>
                <a:cubicBezTo>
                  <a:pt x="1191181" y="457505"/>
                  <a:pt x="1255731" y="443773"/>
                  <a:pt x="1323488" y="443773"/>
                </a:cubicBezTo>
                <a:lnTo>
                  <a:pt x="2402582" y="443773"/>
                </a:lnTo>
                <a:lnTo>
                  <a:pt x="2456671" y="532354"/>
                </a:lnTo>
                <a:lnTo>
                  <a:pt x="2473940" y="587984"/>
                </a:lnTo>
                <a:cubicBezTo>
                  <a:pt x="2480477" y="619931"/>
                  <a:pt x="2483910" y="653008"/>
                  <a:pt x="2483910" y="686886"/>
                </a:cubicBezTo>
                <a:lnTo>
                  <a:pt x="2483909" y="979064"/>
                </a:lnTo>
                <a:cubicBezTo>
                  <a:pt x="2483909" y="1080700"/>
                  <a:pt x="2453012" y="1175119"/>
                  <a:pt x="2400098" y="1253442"/>
                </a:cubicBezTo>
                <a:lnTo>
                  <a:pt x="2340174" y="1326071"/>
                </a:lnTo>
                <a:lnTo>
                  <a:pt x="2340175" y="1326070"/>
                </a:lnTo>
                <a:cubicBezTo>
                  <a:pt x="2428982" y="1237263"/>
                  <a:pt x="2483910" y="1114577"/>
                  <a:pt x="2483910" y="979063"/>
                </a:cubicBezTo>
                <a:lnTo>
                  <a:pt x="2483911" y="686885"/>
                </a:lnTo>
                <a:cubicBezTo>
                  <a:pt x="2483911" y="653007"/>
                  <a:pt x="2480478" y="619930"/>
                  <a:pt x="2473941" y="587983"/>
                </a:cubicBezTo>
                <a:lnTo>
                  <a:pt x="2456672" y="532353"/>
                </a:lnTo>
                <a:lnTo>
                  <a:pt x="3180290" y="1717434"/>
                </a:lnTo>
                <a:lnTo>
                  <a:pt x="2926367" y="1717434"/>
                </a:lnTo>
                <a:lnTo>
                  <a:pt x="2918017" y="1716592"/>
                </a:lnTo>
                <a:lnTo>
                  <a:pt x="1315139" y="1716593"/>
                </a:lnTo>
                <a:lnTo>
                  <a:pt x="1224588" y="1707464"/>
                </a:lnTo>
                <a:cubicBezTo>
                  <a:pt x="1128750" y="1687852"/>
                  <a:pt x="1043088" y="1640304"/>
                  <a:pt x="976482" y="1573699"/>
                </a:cubicBezTo>
                <a:lnTo>
                  <a:pt x="916581" y="1501097"/>
                </a:lnTo>
                <a:lnTo>
                  <a:pt x="916512" y="1500984"/>
                </a:lnTo>
                <a:lnTo>
                  <a:pt x="899589" y="1469807"/>
                </a:lnTo>
                <a:lnTo>
                  <a:pt x="899587" y="1469807"/>
                </a:lnTo>
                <a:lnTo>
                  <a:pt x="899586" y="1469805"/>
                </a:lnTo>
                <a:lnTo>
                  <a:pt x="897474" y="1469805"/>
                </a:lnTo>
                <a:lnTo>
                  <a:pt x="119769" y="196144"/>
                </a:lnTo>
                <a:close/>
                <a:moveTo>
                  <a:pt x="916511" y="1500987"/>
                </a:moveTo>
                <a:lnTo>
                  <a:pt x="897473" y="1469808"/>
                </a:lnTo>
                <a:lnTo>
                  <a:pt x="899587" y="1469808"/>
                </a:lnTo>
                <a:close/>
              </a:path>
            </a:pathLst>
          </a:custGeom>
          <a:gradFill>
            <a:gsLst>
              <a:gs pos="70000">
                <a:schemeClr val="accent3">
                  <a:lumMod val="40000"/>
                  <a:lumOff val="60000"/>
                </a:schemeClr>
              </a:gs>
              <a:gs pos="37000">
                <a:srgbClr val="92D050"/>
              </a:gs>
              <a:gs pos="30000">
                <a:schemeClr val="accent3">
                  <a:lumMod val="40000"/>
                  <a:lumOff val="60000"/>
                </a:schemeClr>
              </a:gs>
              <a:gs pos="62000">
                <a:srgbClr val="92D050"/>
              </a:gs>
              <a:gs pos="21000">
                <a:schemeClr val="accent3">
                  <a:lumMod val="50000"/>
                </a:schemeClr>
              </a:gs>
              <a:gs pos="77000">
                <a:schemeClr val="accent3">
                  <a:lumMod val="50000"/>
                </a:schemeClr>
              </a:gs>
            </a:gsLst>
            <a:lin ang="900000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6" name="Freeform: Shape 35">
            <a:extLst>
              <a:ext uri="{FF2B5EF4-FFF2-40B4-BE49-F238E27FC236}">
                <a16:creationId xmlns:a16="http://schemas.microsoft.com/office/drawing/2014/main" id="{E583A386-551F-4D96-8885-BC7AB55D3F71}"/>
              </a:ext>
            </a:extLst>
          </p:cNvPr>
          <p:cNvSpPr/>
          <p:nvPr/>
        </p:nvSpPr>
        <p:spPr>
          <a:xfrm rot="7284510">
            <a:off x="5692091" y="3243724"/>
            <a:ext cx="3274708" cy="1872070"/>
          </a:xfrm>
          <a:custGeom>
            <a:avLst/>
            <a:gdLst>
              <a:gd name="connsiteX0" fmla="*/ 1315138 w 3274708"/>
              <a:gd name="connsiteY0" fmla="*/ 1716595 h 1872070"/>
              <a:gd name="connsiteX1" fmla="*/ 2918016 w 3274708"/>
              <a:gd name="connsiteY1" fmla="*/ 1716594 h 1872070"/>
              <a:gd name="connsiteX2" fmla="*/ 2926366 w 3274708"/>
              <a:gd name="connsiteY2" fmla="*/ 1717436 h 1872070"/>
              <a:gd name="connsiteX3" fmla="*/ 3180288 w 3274708"/>
              <a:gd name="connsiteY3" fmla="*/ 1717436 h 1872070"/>
              <a:gd name="connsiteX4" fmla="*/ 3274708 w 3274708"/>
              <a:gd name="connsiteY4" fmla="*/ 1872070 h 1872070"/>
              <a:gd name="connsiteX5" fmla="*/ 3265022 w 3274708"/>
              <a:gd name="connsiteY5" fmla="*/ 1860329 h 1872070"/>
              <a:gd name="connsiteX6" fmla="*/ 3016916 w 3274708"/>
              <a:gd name="connsiteY6" fmla="*/ 1726564 h 1872070"/>
              <a:gd name="connsiteX7" fmla="*/ 2926365 w 3274708"/>
              <a:gd name="connsiteY7" fmla="*/ 1717436 h 1872070"/>
              <a:gd name="connsiteX8" fmla="*/ 1323489 w 3274708"/>
              <a:gd name="connsiteY8" fmla="*/ 1717436 h 1872070"/>
              <a:gd name="connsiteX9" fmla="*/ 119766 w 3274708"/>
              <a:gd name="connsiteY9" fmla="*/ 196144 h 1872070"/>
              <a:gd name="connsiteX10" fmla="*/ 0 w 3274708"/>
              <a:gd name="connsiteY10" fmla="*/ 0 h 1872070"/>
              <a:gd name="connsiteX11" fmla="*/ 46256 w 3274708"/>
              <a:gd name="connsiteY11" fmla="*/ 56064 h 1872070"/>
              <a:gd name="connsiteX12" fmla="*/ 294362 w 3274708"/>
              <a:gd name="connsiteY12" fmla="*/ 189828 h 1872070"/>
              <a:gd name="connsiteX13" fmla="*/ 357008 w 3274708"/>
              <a:gd name="connsiteY13" fmla="*/ 196143 h 1872070"/>
              <a:gd name="connsiteX14" fmla="*/ 357018 w 3274708"/>
              <a:gd name="connsiteY14" fmla="*/ 196143 h 1872070"/>
              <a:gd name="connsiteX15" fmla="*/ 357038 w 3274708"/>
              <a:gd name="connsiteY15" fmla="*/ 196145 h 1872070"/>
              <a:gd name="connsiteX16" fmla="*/ 1993168 w 3274708"/>
              <a:gd name="connsiteY16" fmla="*/ 196145 h 1872070"/>
              <a:gd name="connsiteX17" fmla="*/ 2029412 w 3274708"/>
              <a:gd name="connsiteY17" fmla="*/ 199798 h 1872070"/>
              <a:gd name="connsiteX18" fmla="*/ 2029425 w 3274708"/>
              <a:gd name="connsiteY18" fmla="*/ 199798 h 1872070"/>
              <a:gd name="connsiteX19" fmla="*/ 2092070 w 3274708"/>
              <a:gd name="connsiteY19" fmla="*/ 206113 h 1872070"/>
              <a:gd name="connsiteX20" fmla="*/ 2267547 w 3274708"/>
              <a:gd name="connsiteY20" fmla="*/ 279954 h 1872070"/>
              <a:gd name="connsiteX21" fmla="*/ 2338100 w 3274708"/>
              <a:gd name="connsiteY21" fmla="*/ 338166 h 1872070"/>
              <a:gd name="connsiteX22" fmla="*/ 2402584 w 3274708"/>
              <a:gd name="connsiteY22" fmla="*/ 443772 h 1872070"/>
              <a:gd name="connsiteX23" fmla="*/ 1323490 w 3274708"/>
              <a:gd name="connsiteY23" fmla="*/ 443772 h 1872070"/>
              <a:gd name="connsiteX24" fmla="*/ 1049112 w 3274708"/>
              <a:gd name="connsiteY24" fmla="*/ 527583 h 1872070"/>
              <a:gd name="connsiteX25" fmla="*/ 1049111 w 3274708"/>
              <a:gd name="connsiteY25" fmla="*/ 527583 h 1872070"/>
              <a:gd name="connsiteX26" fmla="*/ 1132469 w 3274708"/>
              <a:gd name="connsiteY26" fmla="*/ 482338 h 1872070"/>
              <a:gd name="connsiteX27" fmla="*/ 1323488 w 3274708"/>
              <a:gd name="connsiteY27" fmla="*/ 443773 h 1872070"/>
              <a:gd name="connsiteX28" fmla="*/ 2402582 w 3274708"/>
              <a:gd name="connsiteY28" fmla="*/ 443773 h 1872070"/>
              <a:gd name="connsiteX29" fmla="*/ 2456671 w 3274708"/>
              <a:gd name="connsiteY29" fmla="*/ 532354 h 1872070"/>
              <a:gd name="connsiteX30" fmla="*/ 2473940 w 3274708"/>
              <a:gd name="connsiteY30" fmla="*/ 587984 h 1872070"/>
              <a:gd name="connsiteX31" fmla="*/ 2483910 w 3274708"/>
              <a:gd name="connsiteY31" fmla="*/ 686886 h 1872070"/>
              <a:gd name="connsiteX32" fmla="*/ 2483909 w 3274708"/>
              <a:gd name="connsiteY32" fmla="*/ 979064 h 1872070"/>
              <a:gd name="connsiteX33" fmla="*/ 2400098 w 3274708"/>
              <a:gd name="connsiteY33" fmla="*/ 1253442 h 1872070"/>
              <a:gd name="connsiteX34" fmla="*/ 2340174 w 3274708"/>
              <a:gd name="connsiteY34" fmla="*/ 1326071 h 1872070"/>
              <a:gd name="connsiteX35" fmla="*/ 2340175 w 3274708"/>
              <a:gd name="connsiteY35" fmla="*/ 1326070 h 1872070"/>
              <a:gd name="connsiteX36" fmla="*/ 2483910 w 3274708"/>
              <a:gd name="connsiteY36" fmla="*/ 979063 h 1872070"/>
              <a:gd name="connsiteX37" fmla="*/ 2483911 w 3274708"/>
              <a:gd name="connsiteY37" fmla="*/ 686885 h 1872070"/>
              <a:gd name="connsiteX38" fmla="*/ 2473941 w 3274708"/>
              <a:gd name="connsiteY38" fmla="*/ 587983 h 1872070"/>
              <a:gd name="connsiteX39" fmla="*/ 2456672 w 3274708"/>
              <a:gd name="connsiteY39" fmla="*/ 532353 h 1872070"/>
              <a:gd name="connsiteX40" fmla="*/ 3180290 w 3274708"/>
              <a:gd name="connsiteY40" fmla="*/ 1717434 h 1872070"/>
              <a:gd name="connsiteX41" fmla="*/ 2926367 w 3274708"/>
              <a:gd name="connsiteY41" fmla="*/ 1717434 h 1872070"/>
              <a:gd name="connsiteX42" fmla="*/ 2918017 w 3274708"/>
              <a:gd name="connsiteY42" fmla="*/ 1716592 h 1872070"/>
              <a:gd name="connsiteX43" fmla="*/ 1315139 w 3274708"/>
              <a:gd name="connsiteY43" fmla="*/ 1716593 h 1872070"/>
              <a:gd name="connsiteX44" fmla="*/ 1224588 w 3274708"/>
              <a:gd name="connsiteY44" fmla="*/ 1707464 h 1872070"/>
              <a:gd name="connsiteX45" fmla="*/ 976482 w 3274708"/>
              <a:gd name="connsiteY45" fmla="*/ 1573699 h 1872070"/>
              <a:gd name="connsiteX46" fmla="*/ 916581 w 3274708"/>
              <a:gd name="connsiteY46" fmla="*/ 1501097 h 1872070"/>
              <a:gd name="connsiteX47" fmla="*/ 916512 w 3274708"/>
              <a:gd name="connsiteY47" fmla="*/ 1500984 h 1872070"/>
              <a:gd name="connsiteX48" fmla="*/ 899589 w 3274708"/>
              <a:gd name="connsiteY48" fmla="*/ 1469807 h 1872070"/>
              <a:gd name="connsiteX49" fmla="*/ 899587 w 3274708"/>
              <a:gd name="connsiteY49" fmla="*/ 1469807 h 1872070"/>
              <a:gd name="connsiteX50" fmla="*/ 899586 w 3274708"/>
              <a:gd name="connsiteY50" fmla="*/ 1469805 h 1872070"/>
              <a:gd name="connsiteX51" fmla="*/ 897474 w 3274708"/>
              <a:gd name="connsiteY51" fmla="*/ 1469805 h 1872070"/>
              <a:gd name="connsiteX52" fmla="*/ 119769 w 3274708"/>
              <a:gd name="connsiteY52" fmla="*/ 196144 h 1872070"/>
              <a:gd name="connsiteX53" fmla="*/ 916511 w 3274708"/>
              <a:gd name="connsiteY53" fmla="*/ 1500987 h 1872070"/>
              <a:gd name="connsiteX54" fmla="*/ 897473 w 3274708"/>
              <a:gd name="connsiteY54" fmla="*/ 1469808 h 1872070"/>
              <a:gd name="connsiteX55" fmla="*/ 899587 w 3274708"/>
              <a:gd name="connsiteY55" fmla="*/ 1469808 h 1872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274708" h="1872070">
                <a:moveTo>
                  <a:pt x="1315138" y="1716595"/>
                </a:moveTo>
                <a:lnTo>
                  <a:pt x="2918016" y="1716594"/>
                </a:lnTo>
                <a:lnTo>
                  <a:pt x="2926366" y="1717436"/>
                </a:lnTo>
                <a:lnTo>
                  <a:pt x="3180288" y="1717436"/>
                </a:lnTo>
                <a:lnTo>
                  <a:pt x="3274708" y="1872070"/>
                </a:lnTo>
                <a:lnTo>
                  <a:pt x="3265022" y="1860329"/>
                </a:lnTo>
                <a:cubicBezTo>
                  <a:pt x="3198417" y="1793724"/>
                  <a:pt x="3112755" y="1746176"/>
                  <a:pt x="3016916" y="1726564"/>
                </a:cubicBezTo>
                <a:lnTo>
                  <a:pt x="2926365" y="1717436"/>
                </a:lnTo>
                <a:lnTo>
                  <a:pt x="1323489" y="1717436"/>
                </a:lnTo>
                <a:close/>
                <a:moveTo>
                  <a:pt x="119766" y="196144"/>
                </a:moveTo>
                <a:lnTo>
                  <a:pt x="0" y="0"/>
                </a:lnTo>
                <a:lnTo>
                  <a:pt x="46256" y="56064"/>
                </a:lnTo>
                <a:cubicBezTo>
                  <a:pt x="112862" y="122669"/>
                  <a:pt x="198524" y="170217"/>
                  <a:pt x="294362" y="189828"/>
                </a:cubicBezTo>
                <a:lnTo>
                  <a:pt x="357008" y="196143"/>
                </a:lnTo>
                <a:lnTo>
                  <a:pt x="357018" y="196143"/>
                </a:lnTo>
                <a:lnTo>
                  <a:pt x="357038" y="196145"/>
                </a:lnTo>
                <a:lnTo>
                  <a:pt x="1993168" y="196145"/>
                </a:lnTo>
                <a:lnTo>
                  <a:pt x="2029412" y="199798"/>
                </a:lnTo>
                <a:lnTo>
                  <a:pt x="2029425" y="199798"/>
                </a:lnTo>
                <a:lnTo>
                  <a:pt x="2092070" y="206113"/>
                </a:lnTo>
                <a:cubicBezTo>
                  <a:pt x="2155962" y="219188"/>
                  <a:pt x="2215332" y="244678"/>
                  <a:pt x="2267547" y="279954"/>
                </a:cubicBezTo>
                <a:lnTo>
                  <a:pt x="2338100" y="338166"/>
                </a:lnTo>
                <a:lnTo>
                  <a:pt x="2402584" y="443772"/>
                </a:lnTo>
                <a:lnTo>
                  <a:pt x="1323490" y="443772"/>
                </a:lnTo>
                <a:cubicBezTo>
                  <a:pt x="1221854" y="443772"/>
                  <a:pt x="1127434" y="474669"/>
                  <a:pt x="1049112" y="527583"/>
                </a:cubicBezTo>
                <a:lnTo>
                  <a:pt x="1049111" y="527583"/>
                </a:lnTo>
                <a:lnTo>
                  <a:pt x="1132469" y="482338"/>
                </a:lnTo>
                <a:cubicBezTo>
                  <a:pt x="1191181" y="457505"/>
                  <a:pt x="1255731" y="443773"/>
                  <a:pt x="1323488" y="443773"/>
                </a:cubicBezTo>
                <a:lnTo>
                  <a:pt x="2402582" y="443773"/>
                </a:lnTo>
                <a:lnTo>
                  <a:pt x="2456671" y="532354"/>
                </a:lnTo>
                <a:lnTo>
                  <a:pt x="2473940" y="587984"/>
                </a:lnTo>
                <a:cubicBezTo>
                  <a:pt x="2480477" y="619931"/>
                  <a:pt x="2483910" y="653008"/>
                  <a:pt x="2483910" y="686886"/>
                </a:cubicBezTo>
                <a:lnTo>
                  <a:pt x="2483909" y="979064"/>
                </a:lnTo>
                <a:cubicBezTo>
                  <a:pt x="2483909" y="1080700"/>
                  <a:pt x="2453012" y="1175119"/>
                  <a:pt x="2400098" y="1253442"/>
                </a:cubicBezTo>
                <a:lnTo>
                  <a:pt x="2340174" y="1326071"/>
                </a:lnTo>
                <a:lnTo>
                  <a:pt x="2340175" y="1326070"/>
                </a:lnTo>
                <a:cubicBezTo>
                  <a:pt x="2428982" y="1237263"/>
                  <a:pt x="2483910" y="1114577"/>
                  <a:pt x="2483910" y="979063"/>
                </a:cubicBezTo>
                <a:lnTo>
                  <a:pt x="2483911" y="686885"/>
                </a:lnTo>
                <a:cubicBezTo>
                  <a:pt x="2483911" y="653007"/>
                  <a:pt x="2480478" y="619930"/>
                  <a:pt x="2473941" y="587983"/>
                </a:cubicBezTo>
                <a:lnTo>
                  <a:pt x="2456672" y="532353"/>
                </a:lnTo>
                <a:lnTo>
                  <a:pt x="3180290" y="1717434"/>
                </a:lnTo>
                <a:lnTo>
                  <a:pt x="2926367" y="1717434"/>
                </a:lnTo>
                <a:lnTo>
                  <a:pt x="2918017" y="1716592"/>
                </a:lnTo>
                <a:lnTo>
                  <a:pt x="1315139" y="1716593"/>
                </a:lnTo>
                <a:lnTo>
                  <a:pt x="1224588" y="1707464"/>
                </a:lnTo>
                <a:cubicBezTo>
                  <a:pt x="1128750" y="1687852"/>
                  <a:pt x="1043088" y="1640304"/>
                  <a:pt x="976482" y="1573699"/>
                </a:cubicBezTo>
                <a:lnTo>
                  <a:pt x="916581" y="1501097"/>
                </a:lnTo>
                <a:lnTo>
                  <a:pt x="916512" y="1500984"/>
                </a:lnTo>
                <a:lnTo>
                  <a:pt x="899589" y="1469807"/>
                </a:lnTo>
                <a:lnTo>
                  <a:pt x="899587" y="1469807"/>
                </a:lnTo>
                <a:lnTo>
                  <a:pt x="899586" y="1469805"/>
                </a:lnTo>
                <a:lnTo>
                  <a:pt x="897474" y="1469805"/>
                </a:lnTo>
                <a:lnTo>
                  <a:pt x="119769" y="196144"/>
                </a:lnTo>
                <a:close/>
                <a:moveTo>
                  <a:pt x="916511" y="1500987"/>
                </a:moveTo>
                <a:lnTo>
                  <a:pt x="897473" y="1469808"/>
                </a:lnTo>
                <a:lnTo>
                  <a:pt x="899587" y="1469808"/>
                </a:lnTo>
                <a:close/>
              </a:path>
            </a:pathLst>
          </a:custGeom>
          <a:gradFill>
            <a:gsLst>
              <a:gs pos="70000">
                <a:schemeClr val="accent1">
                  <a:lumMod val="40000"/>
                  <a:lumOff val="60000"/>
                </a:schemeClr>
              </a:gs>
              <a:gs pos="37000">
                <a:srgbClr val="00B0F0"/>
              </a:gs>
              <a:gs pos="30000">
                <a:schemeClr val="accent1">
                  <a:lumMod val="40000"/>
                  <a:lumOff val="60000"/>
                </a:schemeClr>
              </a:gs>
              <a:gs pos="62000">
                <a:srgbClr val="00B0F0"/>
              </a:gs>
              <a:gs pos="21000">
                <a:schemeClr val="accent1">
                  <a:lumMod val="50000"/>
                </a:schemeClr>
              </a:gs>
              <a:gs pos="77000">
                <a:schemeClr val="accent1">
                  <a:lumMod val="50000"/>
                </a:schemeClr>
              </a:gs>
            </a:gsLst>
            <a:lin ang="900000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7" name="Freeform: Shape 36">
            <a:extLst>
              <a:ext uri="{FF2B5EF4-FFF2-40B4-BE49-F238E27FC236}">
                <a16:creationId xmlns:a16="http://schemas.microsoft.com/office/drawing/2014/main" id="{7010A0C6-2FA8-467C-ACFB-A723F62C46D7}"/>
              </a:ext>
            </a:extLst>
          </p:cNvPr>
          <p:cNvSpPr/>
          <p:nvPr/>
        </p:nvSpPr>
        <p:spPr>
          <a:xfrm rot="7284510">
            <a:off x="8249608" y="3243724"/>
            <a:ext cx="3274708" cy="1872070"/>
          </a:xfrm>
          <a:custGeom>
            <a:avLst/>
            <a:gdLst>
              <a:gd name="connsiteX0" fmla="*/ 1315138 w 3274708"/>
              <a:gd name="connsiteY0" fmla="*/ 1716595 h 1872070"/>
              <a:gd name="connsiteX1" fmla="*/ 2918016 w 3274708"/>
              <a:gd name="connsiteY1" fmla="*/ 1716594 h 1872070"/>
              <a:gd name="connsiteX2" fmla="*/ 2926366 w 3274708"/>
              <a:gd name="connsiteY2" fmla="*/ 1717436 h 1872070"/>
              <a:gd name="connsiteX3" fmla="*/ 3180288 w 3274708"/>
              <a:gd name="connsiteY3" fmla="*/ 1717436 h 1872070"/>
              <a:gd name="connsiteX4" fmla="*/ 3274708 w 3274708"/>
              <a:gd name="connsiteY4" fmla="*/ 1872070 h 1872070"/>
              <a:gd name="connsiteX5" fmla="*/ 3265022 w 3274708"/>
              <a:gd name="connsiteY5" fmla="*/ 1860329 h 1872070"/>
              <a:gd name="connsiteX6" fmla="*/ 3016916 w 3274708"/>
              <a:gd name="connsiteY6" fmla="*/ 1726564 h 1872070"/>
              <a:gd name="connsiteX7" fmla="*/ 2926365 w 3274708"/>
              <a:gd name="connsiteY7" fmla="*/ 1717436 h 1872070"/>
              <a:gd name="connsiteX8" fmla="*/ 1323489 w 3274708"/>
              <a:gd name="connsiteY8" fmla="*/ 1717436 h 1872070"/>
              <a:gd name="connsiteX9" fmla="*/ 119766 w 3274708"/>
              <a:gd name="connsiteY9" fmla="*/ 196144 h 1872070"/>
              <a:gd name="connsiteX10" fmla="*/ 0 w 3274708"/>
              <a:gd name="connsiteY10" fmla="*/ 0 h 1872070"/>
              <a:gd name="connsiteX11" fmla="*/ 46256 w 3274708"/>
              <a:gd name="connsiteY11" fmla="*/ 56064 h 1872070"/>
              <a:gd name="connsiteX12" fmla="*/ 294362 w 3274708"/>
              <a:gd name="connsiteY12" fmla="*/ 189828 h 1872070"/>
              <a:gd name="connsiteX13" fmla="*/ 357008 w 3274708"/>
              <a:gd name="connsiteY13" fmla="*/ 196143 h 1872070"/>
              <a:gd name="connsiteX14" fmla="*/ 357018 w 3274708"/>
              <a:gd name="connsiteY14" fmla="*/ 196143 h 1872070"/>
              <a:gd name="connsiteX15" fmla="*/ 357038 w 3274708"/>
              <a:gd name="connsiteY15" fmla="*/ 196145 h 1872070"/>
              <a:gd name="connsiteX16" fmla="*/ 1993168 w 3274708"/>
              <a:gd name="connsiteY16" fmla="*/ 196145 h 1872070"/>
              <a:gd name="connsiteX17" fmla="*/ 2029412 w 3274708"/>
              <a:gd name="connsiteY17" fmla="*/ 199798 h 1872070"/>
              <a:gd name="connsiteX18" fmla="*/ 2029425 w 3274708"/>
              <a:gd name="connsiteY18" fmla="*/ 199798 h 1872070"/>
              <a:gd name="connsiteX19" fmla="*/ 2092070 w 3274708"/>
              <a:gd name="connsiteY19" fmla="*/ 206113 h 1872070"/>
              <a:gd name="connsiteX20" fmla="*/ 2267547 w 3274708"/>
              <a:gd name="connsiteY20" fmla="*/ 279954 h 1872070"/>
              <a:gd name="connsiteX21" fmla="*/ 2338100 w 3274708"/>
              <a:gd name="connsiteY21" fmla="*/ 338166 h 1872070"/>
              <a:gd name="connsiteX22" fmla="*/ 2402584 w 3274708"/>
              <a:gd name="connsiteY22" fmla="*/ 443772 h 1872070"/>
              <a:gd name="connsiteX23" fmla="*/ 1323490 w 3274708"/>
              <a:gd name="connsiteY23" fmla="*/ 443772 h 1872070"/>
              <a:gd name="connsiteX24" fmla="*/ 1049112 w 3274708"/>
              <a:gd name="connsiteY24" fmla="*/ 527583 h 1872070"/>
              <a:gd name="connsiteX25" fmla="*/ 1049111 w 3274708"/>
              <a:gd name="connsiteY25" fmla="*/ 527583 h 1872070"/>
              <a:gd name="connsiteX26" fmla="*/ 1132469 w 3274708"/>
              <a:gd name="connsiteY26" fmla="*/ 482338 h 1872070"/>
              <a:gd name="connsiteX27" fmla="*/ 1323488 w 3274708"/>
              <a:gd name="connsiteY27" fmla="*/ 443773 h 1872070"/>
              <a:gd name="connsiteX28" fmla="*/ 2402582 w 3274708"/>
              <a:gd name="connsiteY28" fmla="*/ 443773 h 1872070"/>
              <a:gd name="connsiteX29" fmla="*/ 2456671 w 3274708"/>
              <a:gd name="connsiteY29" fmla="*/ 532354 h 1872070"/>
              <a:gd name="connsiteX30" fmla="*/ 2473940 w 3274708"/>
              <a:gd name="connsiteY30" fmla="*/ 587984 h 1872070"/>
              <a:gd name="connsiteX31" fmla="*/ 2483910 w 3274708"/>
              <a:gd name="connsiteY31" fmla="*/ 686886 h 1872070"/>
              <a:gd name="connsiteX32" fmla="*/ 2483909 w 3274708"/>
              <a:gd name="connsiteY32" fmla="*/ 979064 h 1872070"/>
              <a:gd name="connsiteX33" fmla="*/ 2400098 w 3274708"/>
              <a:gd name="connsiteY33" fmla="*/ 1253442 h 1872070"/>
              <a:gd name="connsiteX34" fmla="*/ 2340174 w 3274708"/>
              <a:gd name="connsiteY34" fmla="*/ 1326071 h 1872070"/>
              <a:gd name="connsiteX35" fmla="*/ 2340175 w 3274708"/>
              <a:gd name="connsiteY35" fmla="*/ 1326070 h 1872070"/>
              <a:gd name="connsiteX36" fmla="*/ 2483910 w 3274708"/>
              <a:gd name="connsiteY36" fmla="*/ 979063 h 1872070"/>
              <a:gd name="connsiteX37" fmla="*/ 2483911 w 3274708"/>
              <a:gd name="connsiteY37" fmla="*/ 686885 h 1872070"/>
              <a:gd name="connsiteX38" fmla="*/ 2473941 w 3274708"/>
              <a:gd name="connsiteY38" fmla="*/ 587983 h 1872070"/>
              <a:gd name="connsiteX39" fmla="*/ 2456672 w 3274708"/>
              <a:gd name="connsiteY39" fmla="*/ 532353 h 1872070"/>
              <a:gd name="connsiteX40" fmla="*/ 3180290 w 3274708"/>
              <a:gd name="connsiteY40" fmla="*/ 1717434 h 1872070"/>
              <a:gd name="connsiteX41" fmla="*/ 2926367 w 3274708"/>
              <a:gd name="connsiteY41" fmla="*/ 1717434 h 1872070"/>
              <a:gd name="connsiteX42" fmla="*/ 2918017 w 3274708"/>
              <a:gd name="connsiteY42" fmla="*/ 1716592 h 1872070"/>
              <a:gd name="connsiteX43" fmla="*/ 1315139 w 3274708"/>
              <a:gd name="connsiteY43" fmla="*/ 1716593 h 1872070"/>
              <a:gd name="connsiteX44" fmla="*/ 1224588 w 3274708"/>
              <a:gd name="connsiteY44" fmla="*/ 1707464 h 1872070"/>
              <a:gd name="connsiteX45" fmla="*/ 976482 w 3274708"/>
              <a:gd name="connsiteY45" fmla="*/ 1573699 h 1872070"/>
              <a:gd name="connsiteX46" fmla="*/ 916581 w 3274708"/>
              <a:gd name="connsiteY46" fmla="*/ 1501097 h 1872070"/>
              <a:gd name="connsiteX47" fmla="*/ 916512 w 3274708"/>
              <a:gd name="connsiteY47" fmla="*/ 1500984 h 1872070"/>
              <a:gd name="connsiteX48" fmla="*/ 899589 w 3274708"/>
              <a:gd name="connsiteY48" fmla="*/ 1469807 h 1872070"/>
              <a:gd name="connsiteX49" fmla="*/ 899587 w 3274708"/>
              <a:gd name="connsiteY49" fmla="*/ 1469807 h 1872070"/>
              <a:gd name="connsiteX50" fmla="*/ 899586 w 3274708"/>
              <a:gd name="connsiteY50" fmla="*/ 1469805 h 1872070"/>
              <a:gd name="connsiteX51" fmla="*/ 897474 w 3274708"/>
              <a:gd name="connsiteY51" fmla="*/ 1469805 h 1872070"/>
              <a:gd name="connsiteX52" fmla="*/ 119769 w 3274708"/>
              <a:gd name="connsiteY52" fmla="*/ 196144 h 1872070"/>
              <a:gd name="connsiteX53" fmla="*/ 916511 w 3274708"/>
              <a:gd name="connsiteY53" fmla="*/ 1500987 h 1872070"/>
              <a:gd name="connsiteX54" fmla="*/ 897473 w 3274708"/>
              <a:gd name="connsiteY54" fmla="*/ 1469808 h 1872070"/>
              <a:gd name="connsiteX55" fmla="*/ 899587 w 3274708"/>
              <a:gd name="connsiteY55" fmla="*/ 1469808 h 1872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274708" h="1872070">
                <a:moveTo>
                  <a:pt x="1315138" y="1716595"/>
                </a:moveTo>
                <a:lnTo>
                  <a:pt x="2918016" y="1716594"/>
                </a:lnTo>
                <a:lnTo>
                  <a:pt x="2926366" y="1717436"/>
                </a:lnTo>
                <a:lnTo>
                  <a:pt x="3180288" y="1717436"/>
                </a:lnTo>
                <a:lnTo>
                  <a:pt x="3274708" y="1872070"/>
                </a:lnTo>
                <a:lnTo>
                  <a:pt x="3265022" y="1860329"/>
                </a:lnTo>
                <a:cubicBezTo>
                  <a:pt x="3198417" y="1793724"/>
                  <a:pt x="3112755" y="1746176"/>
                  <a:pt x="3016916" y="1726564"/>
                </a:cubicBezTo>
                <a:lnTo>
                  <a:pt x="2926365" y="1717436"/>
                </a:lnTo>
                <a:lnTo>
                  <a:pt x="1323489" y="1717436"/>
                </a:lnTo>
                <a:close/>
                <a:moveTo>
                  <a:pt x="119766" y="196144"/>
                </a:moveTo>
                <a:lnTo>
                  <a:pt x="0" y="0"/>
                </a:lnTo>
                <a:lnTo>
                  <a:pt x="46256" y="56064"/>
                </a:lnTo>
                <a:cubicBezTo>
                  <a:pt x="112862" y="122669"/>
                  <a:pt x="198524" y="170217"/>
                  <a:pt x="294362" y="189828"/>
                </a:cubicBezTo>
                <a:lnTo>
                  <a:pt x="357008" y="196143"/>
                </a:lnTo>
                <a:lnTo>
                  <a:pt x="357018" y="196143"/>
                </a:lnTo>
                <a:lnTo>
                  <a:pt x="357038" y="196145"/>
                </a:lnTo>
                <a:lnTo>
                  <a:pt x="1993168" y="196145"/>
                </a:lnTo>
                <a:lnTo>
                  <a:pt x="2029412" y="199798"/>
                </a:lnTo>
                <a:lnTo>
                  <a:pt x="2029425" y="199798"/>
                </a:lnTo>
                <a:lnTo>
                  <a:pt x="2092070" y="206113"/>
                </a:lnTo>
                <a:cubicBezTo>
                  <a:pt x="2155962" y="219188"/>
                  <a:pt x="2215332" y="244678"/>
                  <a:pt x="2267547" y="279954"/>
                </a:cubicBezTo>
                <a:lnTo>
                  <a:pt x="2338100" y="338166"/>
                </a:lnTo>
                <a:lnTo>
                  <a:pt x="2402584" y="443772"/>
                </a:lnTo>
                <a:lnTo>
                  <a:pt x="1323490" y="443772"/>
                </a:lnTo>
                <a:cubicBezTo>
                  <a:pt x="1221854" y="443772"/>
                  <a:pt x="1127434" y="474669"/>
                  <a:pt x="1049112" y="527583"/>
                </a:cubicBezTo>
                <a:lnTo>
                  <a:pt x="1049111" y="527583"/>
                </a:lnTo>
                <a:lnTo>
                  <a:pt x="1132469" y="482338"/>
                </a:lnTo>
                <a:cubicBezTo>
                  <a:pt x="1191181" y="457505"/>
                  <a:pt x="1255731" y="443773"/>
                  <a:pt x="1323488" y="443773"/>
                </a:cubicBezTo>
                <a:lnTo>
                  <a:pt x="2402582" y="443773"/>
                </a:lnTo>
                <a:lnTo>
                  <a:pt x="2456671" y="532354"/>
                </a:lnTo>
                <a:lnTo>
                  <a:pt x="2473940" y="587984"/>
                </a:lnTo>
                <a:cubicBezTo>
                  <a:pt x="2480477" y="619931"/>
                  <a:pt x="2483910" y="653008"/>
                  <a:pt x="2483910" y="686886"/>
                </a:cubicBezTo>
                <a:lnTo>
                  <a:pt x="2483909" y="979064"/>
                </a:lnTo>
                <a:cubicBezTo>
                  <a:pt x="2483909" y="1080700"/>
                  <a:pt x="2453012" y="1175119"/>
                  <a:pt x="2400098" y="1253442"/>
                </a:cubicBezTo>
                <a:lnTo>
                  <a:pt x="2340174" y="1326071"/>
                </a:lnTo>
                <a:lnTo>
                  <a:pt x="2340175" y="1326070"/>
                </a:lnTo>
                <a:cubicBezTo>
                  <a:pt x="2428982" y="1237263"/>
                  <a:pt x="2483910" y="1114577"/>
                  <a:pt x="2483910" y="979063"/>
                </a:cubicBezTo>
                <a:lnTo>
                  <a:pt x="2483911" y="686885"/>
                </a:lnTo>
                <a:cubicBezTo>
                  <a:pt x="2483911" y="653007"/>
                  <a:pt x="2480478" y="619930"/>
                  <a:pt x="2473941" y="587983"/>
                </a:cubicBezTo>
                <a:lnTo>
                  <a:pt x="2456672" y="532353"/>
                </a:lnTo>
                <a:lnTo>
                  <a:pt x="3180290" y="1717434"/>
                </a:lnTo>
                <a:lnTo>
                  <a:pt x="2926367" y="1717434"/>
                </a:lnTo>
                <a:lnTo>
                  <a:pt x="2918017" y="1716592"/>
                </a:lnTo>
                <a:lnTo>
                  <a:pt x="1315139" y="1716593"/>
                </a:lnTo>
                <a:lnTo>
                  <a:pt x="1224588" y="1707464"/>
                </a:lnTo>
                <a:cubicBezTo>
                  <a:pt x="1128750" y="1687852"/>
                  <a:pt x="1043088" y="1640304"/>
                  <a:pt x="976482" y="1573699"/>
                </a:cubicBezTo>
                <a:lnTo>
                  <a:pt x="916581" y="1501097"/>
                </a:lnTo>
                <a:lnTo>
                  <a:pt x="916512" y="1500984"/>
                </a:lnTo>
                <a:lnTo>
                  <a:pt x="899589" y="1469807"/>
                </a:lnTo>
                <a:lnTo>
                  <a:pt x="899587" y="1469807"/>
                </a:lnTo>
                <a:lnTo>
                  <a:pt x="899586" y="1469805"/>
                </a:lnTo>
                <a:lnTo>
                  <a:pt x="897474" y="1469805"/>
                </a:lnTo>
                <a:lnTo>
                  <a:pt x="119769" y="196144"/>
                </a:lnTo>
                <a:close/>
                <a:moveTo>
                  <a:pt x="916511" y="1500987"/>
                </a:moveTo>
                <a:lnTo>
                  <a:pt x="897473" y="1469808"/>
                </a:lnTo>
                <a:lnTo>
                  <a:pt x="899587" y="1469808"/>
                </a:lnTo>
                <a:close/>
              </a:path>
            </a:pathLst>
          </a:custGeom>
          <a:gradFill>
            <a:gsLst>
              <a:gs pos="70000">
                <a:schemeClr val="accent4">
                  <a:lumMod val="40000"/>
                  <a:lumOff val="60000"/>
                </a:schemeClr>
              </a:gs>
              <a:gs pos="37000">
                <a:srgbClr val="FFC000"/>
              </a:gs>
              <a:gs pos="30000">
                <a:schemeClr val="accent4">
                  <a:lumMod val="40000"/>
                  <a:lumOff val="60000"/>
                </a:schemeClr>
              </a:gs>
              <a:gs pos="62000">
                <a:srgbClr val="FFC000"/>
              </a:gs>
              <a:gs pos="21000">
                <a:schemeClr val="accent4">
                  <a:lumMod val="50000"/>
                </a:schemeClr>
              </a:gs>
              <a:gs pos="77000">
                <a:schemeClr val="accent4">
                  <a:lumMod val="50000"/>
                </a:schemeClr>
              </a:gs>
            </a:gsLst>
            <a:lin ang="900000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9" name="Risk Identification">
            <a:extLst>
              <a:ext uri="{FF2B5EF4-FFF2-40B4-BE49-F238E27FC236}">
                <a16:creationId xmlns:a16="http://schemas.microsoft.com/office/drawing/2014/main" id="{D106ECA2-3D82-4BCE-8486-0C8297B1F2E1}"/>
              </a:ext>
            </a:extLst>
          </p:cNvPr>
          <p:cNvSpPr txBox="1"/>
          <p:nvPr/>
        </p:nvSpPr>
        <p:spPr>
          <a:xfrm>
            <a:off x="1459688" y="3834910"/>
            <a:ext cx="1538668" cy="646288"/>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699" tIns="45699" rIns="45699" bIns="45699" numCol="1" anchor="ctr">
            <a:spAutoFit/>
          </a:bodyPr>
          <a:lstStyle>
            <a:lvl1pPr algn="ctr">
              <a:defRPr sz="1800" b="1">
                <a:latin typeface="Calibri"/>
                <a:ea typeface="Calibri"/>
                <a:cs typeface="Calibri"/>
                <a:sym typeface="Calibri"/>
              </a:defRPr>
            </a:lvl1pPr>
          </a:lstStyle>
          <a:p>
            <a:r>
              <a:rPr dirty="0">
                <a:solidFill>
                  <a:schemeClr val="bg1"/>
                </a:solidFill>
              </a:rPr>
              <a:t>Risk Identification</a:t>
            </a:r>
          </a:p>
        </p:txBody>
      </p:sp>
      <p:sp>
        <p:nvSpPr>
          <p:cNvPr id="41" name="Risk Analysis">
            <a:extLst>
              <a:ext uri="{FF2B5EF4-FFF2-40B4-BE49-F238E27FC236}">
                <a16:creationId xmlns:a16="http://schemas.microsoft.com/office/drawing/2014/main" id="{941A72D0-4F31-45AA-A6E6-C23B80058958}"/>
              </a:ext>
            </a:extLst>
          </p:cNvPr>
          <p:cNvSpPr txBox="1"/>
          <p:nvPr/>
        </p:nvSpPr>
        <p:spPr>
          <a:xfrm>
            <a:off x="3647449" y="3973410"/>
            <a:ext cx="2048482" cy="36928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699" tIns="45699" rIns="45699" bIns="45699" numCol="1" anchor="ctr">
            <a:spAutoFit/>
          </a:bodyPr>
          <a:lstStyle>
            <a:lvl1pPr algn="ctr">
              <a:defRPr sz="1800" b="1">
                <a:latin typeface="Calibri"/>
                <a:ea typeface="Calibri"/>
                <a:cs typeface="Calibri"/>
                <a:sym typeface="Calibri"/>
              </a:defRPr>
            </a:lvl1pPr>
          </a:lstStyle>
          <a:p>
            <a:r>
              <a:rPr dirty="0">
                <a:solidFill>
                  <a:schemeClr val="bg1"/>
                </a:solidFill>
              </a:rPr>
              <a:t>Risk Analysis</a:t>
            </a:r>
          </a:p>
        </p:txBody>
      </p:sp>
      <p:sp>
        <p:nvSpPr>
          <p:cNvPr id="43" name="Risk Management">
            <a:extLst>
              <a:ext uri="{FF2B5EF4-FFF2-40B4-BE49-F238E27FC236}">
                <a16:creationId xmlns:a16="http://schemas.microsoft.com/office/drawing/2014/main" id="{3F17A09C-6647-4E9C-9366-C06F6F03D192}"/>
              </a:ext>
            </a:extLst>
          </p:cNvPr>
          <p:cNvSpPr txBox="1"/>
          <p:nvPr/>
        </p:nvSpPr>
        <p:spPr>
          <a:xfrm>
            <a:off x="6391107" y="3834910"/>
            <a:ext cx="1758141" cy="646288"/>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699" tIns="45699" rIns="45699" bIns="45699" numCol="1" anchor="ctr">
            <a:spAutoFit/>
          </a:bodyPr>
          <a:lstStyle>
            <a:lvl1pPr algn="ctr">
              <a:defRPr sz="1800" b="1">
                <a:latin typeface="Calibri"/>
                <a:ea typeface="Calibri"/>
                <a:cs typeface="Calibri"/>
                <a:sym typeface="Calibri"/>
              </a:defRPr>
            </a:lvl1pPr>
          </a:lstStyle>
          <a:p>
            <a:r>
              <a:rPr dirty="0">
                <a:solidFill>
                  <a:schemeClr val="bg1"/>
                </a:solidFill>
              </a:rPr>
              <a:t>Risk Management</a:t>
            </a:r>
          </a:p>
        </p:txBody>
      </p:sp>
      <p:sp>
        <p:nvSpPr>
          <p:cNvPr id="45" name="Continuous Monitoring">
            <a:extLst>
              <a:ext uri="{FF2B5EF4-FFF2-40B4-BE49-F238E27FC236}">
                <a16:creationId xmlns:a16="http://schemas.microsoft.com/office/drawing/2014/main" id="{FBCA615A-0B97-4571-8E2F-25D7B2ACD215}"/>
              </a:ext>
            </a:extLst>
          </p:cNvPr>
          <p:cNvSpPr txBox="1"/>
          <p:nvPr/>
        </p:nvSpPr>
        <p:spPr>
          <a:xfrm>
            <a:off x="8776819" y="3834910"/>
            <a:ext cx="2048481" cy="646288"/>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699" tIns="45699" rIns="45699" bIns="45699" numCol="1" anchor="ctr">
            <a:spAutoFit/>
          </a:bodyPr>
          <a:lstStyle>
            <a:lvl1pPr algn="ctr">
              <a:defRPr sz="1800" b="1">
                <a:latin typeface="Calibri"/>
                <a:ea typeface="Calibri"/>
                <a:cs typeface="Calibri"/>
                <a:sym typeface="Calibri"/>
              </a:defRPr>
            </a:lvl1pPr>
          </a:lstStyle>
          <a:p>
            <a:r>
              <a:rPr dirty="0">
                <a:solidFill>
                  <a:schemeClr val="bg1"/>
                </a:solidFill>
              </a:rPr>
              <a:t>Continuous Monitoring</a:t>
            </a:r>
          </a:p>
        </p:txBody>
      </p:sp>
      <p:sp>
        <p:nvSpPr>
          <p:cNvPr id="47" name="Identify &amp; Document Risks…">
            <a:extLst>
              <a:ext uri="{FF2B5EF4-FFF2-40B4-BE49-F238E27FC236}">
                <a16:creationId xmlns:a16="http://schemas.microsoft.com/office/drawing/2014/main" id="{A5233C86-7270-4CF5-AE5A-F745FBFF33A9}"/>
              </a:ext>
            </a:extLst>
          </p:cNvPr>
          <p:cNvSpPr txBox="1"/>
          <p:nvPr/>
        </p:nvSpPr>
        <p:spPr>
          <a:xfrm>
            <a:off x="351439" y="5249673"/>
            <a:ext cx="2520822" cy="144650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699" tIns="45699" rIns="45699" bIns="45699" numCol="1" anchor="ctr">
            <a:spAutoFit/>
          </a:bodyPr>
          <a:lstStyle/>
          <a:p>
            <a:pPr algn="ctr">
              <a:defRPr sz="1100" b="1">
                <a:latin typeface="Calibri"/>
                <a:ea typeface="Calibri"/>
                <a:cs typeface="Calibri"/>
                <a:sym typeface="Calibri"/>
              </a:defRPr>
            </a:pPr>
            <a:r>
              <a:rPr dirty="0">
                <a:solidFill>
                  <a:schemeClr val="tx1">
                    <a:lumMod val="65000"/>
                    <a:lumOff val="35000"/>
                  </a:schemeClr>
                </a:solidFill>
              </a:rPr>
              <a:t>Identify &amp; Document Risks</a:t>
            </a:r>
          </a:p>
          <a:p>
            <a:pPr algn="just">
              <a:defRPr sz="1100">
                <a:latin typeface="Calibri"/>
                <a:ea typeface="Calibri"/>
                <a:cs typeface="Calibri"/>
                <a:sym typeface="Calibri"/>
              </a:defRPr>
            </a:pPr>
            <a:r>
              <a:rPr lang="en-US" dirty="0">
                <a:solidFill>
                  <a:schemeClr val="tx1">
                    <a:lumMod val="65000"/>
                    <a:lumOff val="35000"/>
                  </a:schemeClr>
                </a:solidFill>
              </a:rPr>
              <a:t>I</a:t>
            </a:r>
            <a:r>
              <a:rPr dirty="0">
                <a:solidFill>
                  <a:schemeClr val="tx1">
                    <a:lumMod val="65000"/>
                    <a:lumOff val="35000"/>
                  </a:schemeClr>
                </a:solidFill>
              </a:rPr>
              <a:t>dentify the potential risks that can impact Cost, Project Schedules or Continuity of Service  during  various phases of the project starting from initiation. Each potential risk  will be  assessed to determine the likelihood of occurrence and the effect on program success</a:t>
            </a:r>
          </a:p>
        </p:txBody>
      </p:sp>
      <p:sp>
        <p:nvSpPr>
          <p:cNvPr id="49" name="Perform Risk Impact Analysis…">
            <a:extLst>
              <a:ext uri="{FF2B5EF4-FFF2-40B4-BE49-F238E27FC236}">
                <a16:creationId xmlns:a16="http://schemas.microsoft.com/office/drawing/2014/main" id="{8A8553A9-47D5-4A4A-9A51-53193EFDB943}"/>
              </a:ext>
            </a:extLst>
          </p:cNvPr>
          <p:cNvSpPr txBox="1"/>
          <p:nvPr/>
        </p:nvSpPr>
        <p:spPr>
          <a:xfrm>
            <a:off x="3154851" y="5165034"/>
            <a:ext cx="2081862" cy="127723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699" tIns="45699" rIns="45699" bIns="45699" numCol="1" anchor="ctr">
            <a:spAutoFit/>
          </a:bodyPr>
          <a:lstStyle/>
          <a:p>
            <a:pPr algn="ctr">
              <a:defRPr sz="1100" b="1">
                <a:latin typeface="Calibri"/>
                <a:ea typeface="Calibri"/>
                <a:cs typeface="Calibri"/>
                <a:sym typeface="Calibri"/>
              </a:defRPr>
            </a:pPr>
            <a:r>
              <a:rPr dirty="0">
                <a:solidFill>
                  <a:schemeClr val="tx1">
                    <a:lumMod val="65000"/>
                    <a:lumOff val="35000"/>
                  </a:schemeClr>
                </a:solidFill>
              </a:rPr>
              <a:t>Perform Risk Impact Analysis</a:t>
            </a:r>
          </a:p>
          <a:p>
            <a:pPr algn="just">
              <a:defRPr sz="1100">
                <a:latin typeface="Calibri"/>
                <a:ea typeface="Calibri"/>
                <a:cs typeface="Calibri"/>
                <a:sym typeface="Calibri"/>
              </a:defRPr>
            </a:pPr>
            <a:r>
              <a:rPr dirty="0">
                <a:solidFill>
                  <a:schemeClr val="tx1">
                    <a:lumMod val="65000"/>
                    <a:lumOff val="35000"/>
                  </a:schemeClr>
                </a:solidFill>
              </a:rPr>
              <a:t>Each potential risk  will be  assessed to determine the likelihood (high, medium, low) of becoming “real” and the effect it might have on success (high, medium, low). </a:t>
            </a:r>
          </a:p>
        </p:txBody>
      </p:sp>
      <p:sp>
        <p:nvSpPr>
          <p:cNvPr id="51" name="Implement a Risk Management Plan…">
            <a:extLst>
              <a:ext uri="{FF2B5EF4-FFF2-40B4-BE49-F238E27FC236}">
                <a16:creationId xmlns:a16="http://schemas.microsoft.com/office/drawing/2014/main" id="{7B478928-274F-4686-B6BC-A0BAE0FB39E7}"/>
              </a:ext>
            </a:extLst>
          </p:cNvPr>
          <p:cNvSpPr txBox="1"/>
          <p:nvPr/>
        </p:nvSpPr>
        <p:spPr>
          <a:xfrm>
            <a:off x="5558317" y="5165034"/>
            <a:ext cx="2354874" cy="60012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699" tIns="45699" rIns="45699" bIns="45699" numCol="1" anchor="ctr">
            <a:spAutoFit/>
          </a:bodyPr>
          <a:lstStyle/>
          <a:p>
            <a:pPr>
              <a:defRPr sz="1100" b="1">
                <a:latin typeface="Calibri"/>
                <a:ea typeface="Calibri"/>
                <a:cs typeface="Calibri"/>
                <a:sym typeface="Calibri"/>
              </a:defRPr>
            </a:pPr>
            <a:r>
              <a:rPr dirty="0">
                <a:solidFill>
                  <a:schemeClr val="tx1">
                    <a:lumMod val="65000"/>
                    <a:lumOff val="35000"/>
                  </a:schemeClr>
                </a:solidFill>
              </a:rPr>
              <a:t>Implement a Risk Management Plan</a:t>
            </a:r>
          </a:p>
          <a:p>
            <a:pPr algn="just">
              <a:defRPr sz="1100">
                <a:latin typeface="Calibri"/>
                <a:ea typeface="Calibri"/>
                <a:cs typeface="Calibri"/>
                <a:sym typeface="Calibri"/>
              </a:defRPr>
            </a:pPr>
            <a:r>
              <a:rPr dirty="0">
                <a:solidFill>
                  <a:schemeClr val="tx1">
                    <a:lumMod val="65000"/>
                    <a:lumOff val="35000"/>
                  </a:schemeClr>
                </a:solidFill>
              </a:rPr>
              <a:t>Engage with development PMO</a:t>
            </a:r>
          </a:p>
          <a:p>
            <a:pPr algn="just">
              <a:defRPr sz="1100">
                <a:latin typeface="Calibri"/>
                <a:ea typeface="Calibri"/>
                <a:cs typeface="Calibri"/>
                <a:sym typeface="Calibri"/>
              </a:defRPr>
            </a:pPr>
            <a:r>
              <a:rPr dirty="0">
                <a:solidFill>
                  <a:schemeClr val="tx1">
                    <a:lumMod val="65000"/>
                    <a:lumOff val="35000"/>
                  </a:schemeClr>
                </a:solidFill>
              </a:rPr>
              <a:t>Engage with </a:t>
            </a:r>
            <a:r>
              <a:rPr lang="en-US" dirty="0">
                <a:solidFill>
                  <a:schemeClr val="tx1">
                    <a:lumMod val="65000"/>
                    <a:lumOff val="35000"/>
                  </a:schemeClr>
                </a:solidFill>
              </a:rPr>
              <a:t>Product </a:t>
            </a:r>
            <a:r>
              <a:rPr lang="en-US" dirty="0" err="1">
                <a:solidFill>
                  <a:schemeClr val="tx1">
                    <a:lumMod val="65000"/>
                    <a:lumOff val="35000"/>
                  </a:schemeClr>
                </a:solidFill>
              </a:rPr>
              <a:t>Onwer</a:t>
            </a:r>
            <a:endParaRPr dirty="0">
              <a:solidFill>
                <a:schemeClr val="tx1">
                  <a:lumMod val="65000"/>
                  <a:lumOff val="35000"/>
                </a:schemeClr>
              </a:solidFill>
            </a:endParaRPr>
          </a:p>
        </p:txBody>
      </p:sp>
      <p:sp>
        <p:nvSpPr>
          <p:cNvPr id="53" name="Monitor &amp; Update Risk Tracker…">
            <a:extLst>
              <a:ext uri="{FF2B5EF4-FFF2-40B4-BE49-F238E27FC236}">
                <a16:creationId xmlns:a16="http://schemas.microsoft.com/office/drawing/2014/main" id="{0573F542-3EF8-4A96-9A7A-6090BBFF8148}"/>
              </a:ext>
            </a:extLst>
          </p:cNvPr>
          <p:cNvSpPr txBox="1"/>
          <p:nvPr/>
        </p:nvSpPr>
        <p:spPr>
          <a:xfrm>
            <a:off x="8006568" y="5249672"/>
            <a:ext cx="2459017" cy="110795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699" tIns="45699" rIns="45699" bIns="45699" numCol="1" anchor="ctr">
            <a:spAutoFit/>
          </a:bodyPr>
          <a:lstStyle/>
          <a:p>
            <a:pPr algn="ctr">
              <a:defRPr sz="1100" b="1">
                <a:latin typeface="Calibri"/>
                <a:ea typeface="Calibri"/>
                <a:cs typeface="Calibri"/>
                <a:sym typeface="Calibri"/>
              </a:defRPr>
            </a:pPr>
            <a:r>
              <a:rPr dirty="0">
                <a:solidFill>
                  <a:schemeClr val="tx1">
                    <a:lumMod val="65000"/>
                    <a:lumOff val="35000"/>
                  </a:schemeClr>
                </a:solidFill>
              </a:rPr>
              <a:t>Monitor &amp; Update Risk Tracker</a:t>
            </a:r>
          </a:p>
          <a:p>
            <a:pPr algn="just">
              <a:defRPr sz="1100">
                <a:latin typeface="Calibri"/>
                <a:ea typeface="Calibri"/>
                <a:cs typeface="Calibri"/>
                <a:sym typeface="Calibri"/>
              </a:defRPr>
            </a:pPr>
            <a:r>
              <a:rPr lang="en-US" dirty="0">
                <a:solidFill>
                  <a:schemeClr val="tx1">
                    <a:lumMod val="65000"/>
                    <a:lumOff val="35000"/>
                  </a:schemeClr>
                </a:solidFill>
              </a:rPr>
              <a:t>C</a:t>
            </a:r>
            <a:r>
              <a:rPr dirty="0">
                <a:solidFill>
                  <a:schemeClr val="tx1">
                    <a:lumMod val="65000"/>
                    <a:lumOff val="35000"/>
                  </a:schemeClr>
                </a:solidFill>
              </a:rPr>
              <a:t>ontinue to monitor the identified risks across the entire </a:t>
            </a:r>
            <a:r>
              <a:rPr lang="en-US" dirty="0">
                <a:solidFill>
                  <a:schemeClr val="tx1">
                    <a:lumMod val="65000"/>
                    <a:lumOff val="35000"/>
                  </a:schemeClr>
                </a:solidFill>
              </a:rPr>
              <a:t>p</a:t>
            </a:r>
            <a:r>
              <a:rPr dirty="0">
                <a:solidFill>
                  <a:schemeClr val="tx1">
                    <a:lumMod val="65000"/>
                    <a:lumOff val="35000"/>
                  </a:schemeClr>
                </a:solidFill>
              </a:rPr>
              <a:t>rogram, and keep identifying the various points of possible failure. Risk Management Plan and Active Risk Register will be refined accordingly</a:t>
            </a:r>
          </a:p>
        </p:txBody>
      </p:sp>
      <p:sp>
        <p:nvSpPr>
          <p:cNvPr id="57" name="Overall Cloud Implementation Risks…">
            <a:extLst>
              <a:ext uri="{FF2B5EF4-FFF2-40B4-BE49-F238E27FC236}">
                <a16:creationId xmlns:a16="http://schemas.microsoft.com/office/drawing/2014/main" id="{E0161A7F-DF5B-434F-BB30-175DE8F017BD}"/>
              </a:ext>
            </a:extLst>
          </p:cNvPr>
          <p:cNvSpPr txBox="1"/>
          <p:nvPr/>
        </p:nvSpPr>
        <p:spPr>
          <a:xfrm>
            <a:off x="926893" y="1067305"/>
            <a:ext cx="10232136" cy="1879111"/>
          </a:xfrm>
          <a:prstGeom prst="rect">
            <a:avLst/>
          </a:prstGeom>
          <a:solidFill>
            <a:schemeClr val="bg1"/>
          </a:solidFill>
          <a:ln w="12700" cap="flat">
            <a:noFill/>
            <a:miter lim="400000"/>
          </a:ln>
          <a:effectLst>
            <a:outerShdw blurRad="63500" sx="102000" sy="102000" algn="ctr" rotWithShape="0">
              <a:prstClr val="black">
                <a:alpha val="40000"/>
              </a:prst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6549" tIns="46549" rIns="46549" bIns="46549" numCol="1" anchor="t">
            <a:spAutoFit/>
          </a:bodyPr>
          <a:lstStyle/>
          <a:p>
            <a:pPr>
              <a:defRPr b="1">
                <a:latin typeface="Calibri"/>
                <a:ea typeface="Calibri"/>
                <a:cs typeface="Calibri"/>
                <a:sym typeface="Calibri"/>
              </a:defRPr>
            </a:pPr>
            <a:r>
              <a:rPr sz="1600" dirty="0">
                <a:solidFill>
                  <a:schemeClr val="tx1">
                    <a:lumMod val="65000"/>
                    <a:lumOff val="35000"/>
                  </a:schemeClr>
                </a:solidFill>
              </a:rPr>
              <a:t>Overall Implementation Risks</a:t>
            </a:r>
          </a:p>
          <a:p>
            <a:pPr marL="291137" indent="-291137" algn="just">
              <a:buClr>
                <a:srgbClr val="000000"/>
              </a:buClr>
              <a:buSzPts val="1400"/>
              <a:buFont typeface="Helvetica"/>
              <a:buChar char="▪"/>
              <a:defRPr>
                <a:latin typeface="Calibri"/>
                <a:ea typeface="Calibri"/>
                <a:cs typeface="Calibri"/>
                <a:sym typeface="Calibri"/>
              </a:defRPr>
            </a:pPr>
            <a:r>
              <a:rPr sz="1200" dirty="0">
                <a:solidFill>
                  <a:schemeClr val="tx1">
                    <a:lumMod val="65000"/>
                    <a:lumOff val="35000"/>
                  </a:schemeClr>
                </a:solidFill>
              </a:rPr>
              <a:t>Availability of necessary </a:t>
            </a:r>
            <a:r>
              <a:rPr lang="en-US" sz="1200" dirty="0">
                <a:solidFill>
                  <a:schemeClr val="tx1">
                    <a:lumMod val="65000"/>
                    <a:lumOff val="35000"/>
                  </a:schemeClr>
                </a:solidFill>
              </a:rPr>
              <a:t>Customer</a:t>
            </a:r>
            <a:r>
              <a:rPr sz="1200" dirty="0">
                <a:solidFill>
                  <a:schemeClr val="tx1">
                    <a:lumMod val="65000"/>
                    <a:lumOff val="35000"/>
                  </a:schemeClr>
                </a:solidFill>
              </a:rPr>
              <a:t> Business and IT SMEs given </a:t>
            </a:r>
            <a:r>
              <a:rPr lang="en-IN" sz="1200" dirty="0">
                <a:solidFill>
                  <a:schemeClr val="tx1">
                    <a:lumMod val="65000"/>
                    <a:lumOff val="35000"/>
                  </a:schemeClr>
                </a:solidFill>
              </a:rPr>
              <a:t>another</a:t>
            </a:r>
            <a:r>
              <a:rPr sz="1200" dirty="0">
                <a:solidFill>
                  <a:schemeClr val="tx1">
                    <a:lumMod val="65000"/>
                    <a:lumOff val="35000"/>
                  </a:schemeClr>
                </a:solidFill>
              </a:rPr>
              <a:t> parallel project in-flight</a:t>
            </a:r>
          </a:p>
          <a:p>
            <a:pPr marL="291137" indent="-291137" algn="just">
              <a:buClr>
                <a:srgbClr val="000000"/>
              </a:buClr>
              <a:buSzPts val="1400"/>
              <a:buFont typeface="Helvetica"/>
              <a:buChar char="▪"/>
              <a:defRPr>
                <a:latin typeface="Calibri"/>
                <a:ea typeface="Calibri"/>
                <a:cs typeface="Calibri"/>
                <a:sym typeface="Calibri"/>
              </a:defRPr>
            </a:pPr>
            <a:r>
              <a:rPr sz="1200" dirty="0">
                <a:solidFill>
                  <a:schemeClr val="tx1">
                    <a:lumMod val="65000"/>
                    <a:lumOff val="35000"/>
                  </a:schemeClr>
                </a:solidFill>
              </a:rPr>
              <a:t>Ability of legacy systems to integrate and consume the cleansed Master Data from Item Master</a:t>
            </a:r>
          </a:p>
          <a:p>
            <a:pPr marL="291137" indent="-291137" algn="just">
              <a:buClr>
                <a:srgbClr val="000000"/>
              </a:buClr>
              <a:buSzPts val="1400"/>
              <a:buFont typeface="Helvetica"/>
              <a:buChar char="▪"/>
              <a:defRPr>
                <a:latin typeface="Calibri"/>
                <a:ea typeface="Calibri"/>
                <a:cs typeface="Calibri"/>
                <a:sym typeface="Calibri"/>
              </a:defRPr>
            </a:pPr>
            <a:r>
              <a:rPr sz="1200" dirty="0">
                <a:solidFill>
                  <a:schemeClr val="tx1">
                    <a:lumMod val="65000"/>
                    <a:lumOff val="35000"/>
                  </a:schemeClr>
                </a:solidFill>
              </a:rPr>
              <a:t>Ability for legacy system to provide cleansed transaction data like Backlogs, contracts, pricelist etc.</a:t>
            </a:r>
          </a:p>
          <a:p>
            <a:pPr marL="291137" indent="-291137" algn="just">
              <a:buClr>
                <a:srgbClr val="000000"/>
              </a:buClr>
              <a:buSzPts val="1400"/>
              <a:buFont typeface="Helvetica"/>
              <a:buChar char="▪"/>
              <a:defRPr>
                <a:latin typeface="Calibri"/>
                <a:ea typeface="Calibri"/>
                <a:cs typeface="Calibri"/>
                <a:sym typeface="Calibri"/>
              </a:defRPr>
            </a:pPr>
            <a:r>
              <a:rPr sz="1200" dirty="0">
                <a:solidFill>
                  <a:schemeClr val="tx1">
                    <a:lumMod val="65000"/>
                    <a:lumOff val="35000"/>
                  </a:schemeClr>
                </a:solidFill>
              </a:rPr>
              <a:t>Active Participation of and necessary support from Client/ Implementation Success Managers and </a:t>
            </a:r>
            <a:r>
              <a:rPr lang="en-US" sz="1200" dirty="0">
                <a:solidFill>
                  <a:schemeClr val="tx1">
                    <a:lumMod val="65000"/>
                    <a:lumOff val="35000"/>
                  </a:schemeClr>
                </a:solidFill>
              </a:rPr>
              <a:t>Client </a:t>
            </a:r>
            <a:r>
              <a:rPr sz="1200" dirty="0">
                <a:solidFill>
                  <a:schemeClr val="tx1">
                    <a:lumMod val="65000"/>
                    <a:lumOff val="35000"/>
                  </a:schemeClr>
                </a:solidFill>
              </a:rPr>
              <a:t>Strategy and </a:t>
            </a:r>
            <a:r>
              <a:rPr lang="en-US" sz="1200" dirty="0">
                <a:solidFill>
                  <a:schemeClr val="tx1">
                    <a:lumMod val="65000"/>
                    <a:lumOff val="35000"/>
                  </a:schemeClr>
                </a:solidFill>
              </a:rPr>
              <a:t>Product Owner </a:t>
            </a:r>
            <a:r>
              <a:rPr sz="1200" dirty="0">
                <a:solidFill>
                  <a:schemeClr val="tx1">
                    <a:lumMod val="65000"/>
                    <a:lumOff val="35000"/>
                  </a:schemeClr>
                </a:solidFill>
              </a:rPr>
              <a:t>team</a:t>
            </a:r>
            <a:r>
              <a:rPr lang="en-US" sz="1200" dirty="0">
                <a:solidFill>
                  <a:schemeClr val="tx1">
                    <a:lumMod val="65000"/>
                    <a:lumOff val="35000"/>
                  </a:schemeClr>
                </a:solidFill>
              </a:rPr>
              <a:t>.</a:t>
            </a:r>
            <a:endParaRPr sz="1200" dirty="0">
              <a:solidFill>
                <a:schemeClr val="tx1">
                  <a:lumMod val="65000"/>
                  <a:lumOff val="35000"/>
                </a:schemeClr>
              </a:solidFill>
            </a:endParaRPr>
          </a:p>
          <a:p>
            <a:pPr marL="291137" indent="-291137" algn="just">
              <a:buClr>
                <a:srgbClr val="000000"/>
              </a:buClr>
              <a:buSzPts val="1400"/>
              <a:buFont typeface="Helvetica"/>
              <a:buChar char="▪"/>
              <a:defRPr>
                <a:latin typeface="Calibri"/>
                <a:ea typeface="Calibri"/>
                <a:cs typeface="Calibri"/>
                <a:sym typeface="Calibri"/>
              </a:defRPr>
            </a:pPr>
            <a:r>
              <a:rPr sz="1200" dirty="0">
                <a:solidFill>
                  <a:schemeClr val="tx1">
                    <a:lumMod val="65000"/>
                    <a:lumOff val="35000"/>
                  </a:schemeClr>
                </a:solidFill>
              </a:rPr>
              <a:t>Availability and Quality of in-scope Master Data from legacy systems, to be determined through data profiling</a:t>
            </a:r>
          </a:p>
          <a:p>
            <a:pPr marL="291137" indent="-291137" algn="just">
              <a:buClr>
                <a:srgbClr val="000000"/>
              </a:buClr>
              <a:buSzPts val="1400"/>
              <a:buFont typeface="Helvetica"/>
              <a:buChar char="▪"/>
              <a:defRPr>
                <a:latin typeface="Calibri"/>
                <a:ea typeface="Calibri"/>
                <a:cs typeface="Calibri"/>
                <a:sym typeface="Calibri"/>
              </a:defRPr>
            </a:pPr>
            <a:r>
              <a:rPr sz="1200" dirty="0">
                <a:solidFill>
                  <a:schemeClr val="tx1">
                    <a:lumMod val="65000"/>
                    <a:lumOff val="35000"/>
                  </a:schemeClr>
                </a:solidFill>
              </a:rPr>
              <a:t>Communication, Collaboration, and timely Decision Making to keep the project on track</a:t>
            </a:r>
          </a:p>
          <a:p>
            <a:pPr marL="291137" indent="-291137" algn="just">
              <a:buClr>
                <a:srgbClr val="000000"/>
              </a:buClr>
              <a:buSzPts val="1400"/>
              <a:buFont typeface="Helvetica"/>
              <a:buChar char="▪"/>
              <a:defRPr>
                <a:latin typeface="Calibri"/>
                <a:ea typeface="Calibri"/>
                <a:cs typeface="Calibri"/>
                <a:sym typeface="Calibri"/>
              </a:defRPr>
            </a:pPr>
            <a:r>
              <a:rPr sz="1200" dirty="0">
                <a:solidFill>
                  <a:schemeClr val="tx1">
                    <a:lumMod val="65000"/>
                    <a:lumOff val="35000"/>
                  </a:schemeClr>
                </a:solidFill>
              </a:rPr>
              <a:t>Performance of applications </a:t>
            </a:r>
          </a:p>
          <a:p>
            <a:pPr marL="291137" indent="-291137" algn="just">
              <a:buClr>
                <a:srgbClr val="000000"/>
              </a:buClr>
              <a:buSzPts val="1400"/>
              <a:buFont typeface="Helvetica"/>
              <a:buChar char="▪"/>
              <a:defRPr>
                <a:latin typeface="Calibri"/>
                <a:ea typeface="Calibri"/>
                <a:cs typeface="Calibri"/>
                <a:sym typeface="Calibri"/>
              </a:defRPr>
            </a:pPr>
            <a:r>
              <a:rPr sz="1200" dirty="0">
                <a:solidFill>
                  <a:schemeClr val="tx1">
                    <a:lumMod val="65000"/>
                    <a:lumOff val="35000"/>
                  </a:schemeClr>
                </a:solidFill>
              </a:rPr>
              <a:t>Bugs in applications</a:t>
            </a:r>
            <a:r>
              <a:rPr sz="1600" dirty="0">
                <a:solidFill>
                  <a:schemeClr val="tx1">
                    <a:lumMod val="65000"/>
                    <a:lumOff val="35000"/>
                  </a:schemeClr>
                </a:solidFill>
              </a:rPr>
              <a:t>, </a:t>
            </a:r>
            <a:r>
              <a:rPr sz="1200" dirty="0">
                <a:solidFill>
                  <a:schemeClr val="tx1">
                    <a:lumMod val="65000"/>
                    <a:lumOff val="35000"/>
                  </a:schemeClr>
                </a:solidFill>
              </a:rPr>
              <a:t>alignment of patching cycles </a:t>
            </a:r>
            <a:endParaRPr sz="1600" dirty="0">
              <a:solidFill>
                <a:schemeClr val="tx1">
                  <a:lumMod val="65000"/>
                  <a:lumOff val="35000"/>
                </a:schemeClr>
              </a:solidFill>
            </a:endParaRPr>
          </a:p>
        </p:txBody>
      </p:sp>
    </p:spTree>
    <p:extLst>
      <p:ext uri="{BB962C8B-B14F-4D97-AF65-F5344CB8AC3E}">
        <p14:creationId xmlns:p14="http://schemas.microsoft.com/office/powerpoint/2010/main" val="16778849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wipe(left)">
                                      <p:cBhvr>
                                        <p:cTn id="10" dur="500"/>
                                        <p:tgtEl>
                                          <p:spTgt spid="25"/>
                                        </p:tgtEl>
                                      </p:cBhvr>
                                    </p:animEffect>
                                  </p:childTnLst>
                                </p:cTn>
                              </p:par>
                            </p:childTnLst>
                          </p:cTn>
                        </p:par>
                        <p:par>
                          <p:cTn id="11" fill="hold">
                            <p:stCondLst>
                              <p:cond delay="500"/>
                            </p:stCondLst>
                            <p:childTnLst>
                              <p:par>
                                <p:cTn id="12" presetID="22" presetClass="entr" presetSubtype="1" fill="hold" grpId="0" nodeType="afterEffect">
                                  <p:stCondLst>
                                    <p:cond delay="0"/>
                                  </p:stCondLst>
                                  <p:childTnLst>
                                    <p:set>
                                      <p:cBhvr>
                                        <p:cTn id="13" dur="1" fill="hold">
                                          <p:stCondLst>
                                            <p:cond delay="0"/>
                                          </p:stCondLst>
                                        </p:cTn>
                                        <p:tgtEl>
                                          <p:spTgt spid="29"/>
                                        </p:tgtEl>
                                        <p:attrNameLst>
                                          <p:attrName>style.visibility</p:attrName>
                                        </p:attrNameLst>
                                      </p:cBhvr>
                                      <p:to>
                                        <p:strVal val="visible"/>
                                      </p:to>
                                    </p:set>
                                    <p:animEffect transition="in" filter="wipe(up)">
                                      <p:cBhvr>
                                        <p:cTn id="14" dur="500"/>
                                        <p:tgtEl>
                                          <p:spTgt spid="29"/>
                                        </p:tgtEl>
                                      </p:cBhvr>
                                    </p:animEffect>
                                  </p:childTnLst>
                                </p:cTn>
                              </p:par>
                            </p:childTnLst>
                          </p:cTn>
                        </p:par>
                        <p:par>
                          <p:cTn id="15" fill="hold">
                            <p:stCondLst>
                              <p:cond delay="1000"/>
                            </p:stCondLst>
                            <p:childTnLst>
                              <p:par>
                                <p:cTn id="16" presetID="22" presetClass="entr" presetSubtype="4" fill="hold" grpId="0"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wipe(down)">
                                      <p:cBhvr>
                                        <p:cTn id="18" dur="500"/>
                                        <p:tgtEl>
                                          <p:spTgt spid="34"/>
                                        </p:tgtEl>
                                      </p:cBhvr>
                                    </p:animEffect>
                                  </p:childTnLst>
                                </p:cTn>
                              </p:par>
                            </p:childTnLst>
                          </p:cTn>
                        </p:par>
                        <p:par>
                          <p:cTn id="19" fill="hold">
                            <p:stCondLst>
                              <p:cond delay="1500"/>
                            </p:stCondLst>
                            <p:childTnLst>
                              <p:par>
                                <p:cTn id="20" presetID="22" presetClass="entr" presetSubtype="1" fill="hold" grpId="0" nodeType="after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wipe(up)">
                                      <p:cBhvr>
                                        <p:cTn id="22" dur="500"/>
                                        <p:tgtEl>
                                          <p:spTgt spid="3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7"/>
                                        </p:tgtEl>
                                        <p:attrNameLst>
                                          <p:attrName>style.visibility</p:attrName>
                                        </p:attrNameLst>
                                      </p:cBhvr>
                                      <p:to>
                                        <p:strVal val="visible"/>
                                      </p:to>
                                    </p:set>
                                    <p:animEffect transition="in" filter="fade">
                                      <p:cBhvr>
                                        <p:cTn id="25" dur="500"/>
                                        <p:tgtEl>
                                          <p:spTgt spid="4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childTnLst>
                          </p:cTn>
                        </p:par>
                        <p:par>
                          <p:cTn id="29" fill="hold">
                            <p:stCondLst>
                              <p:cond delay="2000"/>
                            </p:stCondLst>
                            <p:childTnLst>
                              <p:par>
                                <p:cTn id="30" presetID="22" presetClass="entr" presetSubtype="1" fill="hold" grpId="0" nodeType="after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wipe(up)">
                                      <p:cBhvr>
                                        <p:cTn id="32" dur="500"/>
                                        <p:tgtEl>
                                          <p:spTgt spid="28"/>
                                        </p:tgtEl>
                                      </p:cBhvr>
                                    </p:animEffect>
                                  </p:childTnLst>
                                </p:cTn>
                              </p:par>
                            </p:childTnLst>
                          </p:cTn>
                        </p:par>
                        <p:par>
                          <p:cTn id="33" fill="hold">
                            <p:stCondLst>
                              <p:cond delay="2500"/>
                            </p:stCondLst>
                            <p:childTnLst>
                              <p:par>
                                <p:cTn id="34" presetID="22" presetClass="entr" presetSubtype="4" fill="hold" grpId="0" nodeType="afterEffect">
                                  <p:stCondLst>
                                    <p:cond delay="0"/>
                                  </p:stCondLst>
                                  <p:childTnLst>
                                    <p:set>
                                      <p:cBhvr>
                                        <p:cTn id="35" dur="1" fill="hold">
                                          <p:stCondLst>
                                            <p:cond delay="0"/>
                                          </p:stCondLst>
                                        </p:cTn>
                                        <p:tgtEl>
                                          <p:spTgt spid="35"/>
                                        </p:tgtEl>
                                        <p:attrNameLst>
                                          <p:attrName>style.visibility</p:attrName>
                                        </p:attrNameLst>
                                      </p:cBhvr>
                                      <p:to>
                                        <p:strVal val="visible"/>
                                      </p:to>
                                    </p:set>
                                    <p:animEffect transition="in" filter="wipe(down)">
                                      <p:cBhvr>
                                        <p:cTn id="36" dur="500"/>
                                        <p:tgtEl>
                                          <p:spTgt spid="35"/>
                                        </p:tgtEl>
                                      </p:cBhvr>
                                    </p:animEffect>
                                  </p:childTnLst>
                                </p:cTn>
                              </p:par>
                            </p:childTnLst>
                          </p:cTn>
                        </p:par>
                        <p:par>
                          <p:cTn id="37" fill="hold">
                            <p:stCondLst>
                              <p:cond delay="3000"/>
                            </p:stCondLst>
                            <p:childTnLst>
                              <p:par>
                                <p:cTn id="38" presetID="22" presetClass="entr" presetSubtype="1" fill="hold" grpId="0" nodeType="after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wipe(up)">
                                      <p:cBhvr>
                                        <p:cTn id="40" dur="500"/>
                                        <p:tgtEl>
                                          <p:spTgt spid="2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1"/>
                                        </p:tgtEl>
                                        <p:attrNameLst>
                                          <p:attrName>style.visibility</p:attrName>
                                        </p:attrNameLst>
                                      </p:cBhvr>
                                      <p:to>
                                        <p:strVal val="visible"/>
                                      </p:to>
                                    </p:set>
                                    <p:animEffect transition="in" filter="fade">
                                      <p:cBhvr>
                                        <p:cTn id="43" dur="500"/>
                                        <p:tgtEl>
                                          <p:spTgt spid="4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9"/>
                                        </p:tgtEl>
                                        <p:attrNameLst>
                                          <p:attrName>style.visibility</p:attrName>
                                        </p:attrNameLst>
                                      </p:cBhvr>
                                      <p:to>
                                        <p:strVal val="visible"/>
                                      </p:to>
                                    </p:set>
                                    <p:animEffect transition="in" filter="fade">
                                      <p:cBhvr>
                                        <p:cTn id="46" dur="500"/>
                                        <p:tgtEl>
                                          <p:spTgt spid="49"/>
                                        </p:tgtEl>
                                      </p:cBhvr>
                                    </p:animEffect>
                                  </p:childTnLst>
                                </p:cTn>
                              </p:par>
                            </p:childTnLst>
                          </p:cTn>
                        </p:par>
                        <p:par>
                          <p:cTn id="47" fill="hold">
                            <p:stCondLst>
                              <p:cond delay="3500"/>
                            </p:stCondLst>
                            <p:childTnLst>
                              <p:par>
                                <p:cTn id="48" presetID="22" presetClass="entr" presetSubtype="1" fill="hold" grpId="0" nodeType="afterEffect">
                                  <p:stCondLst>
                                    <p:cond delay="0"/>
                                  </p:stCondLst>
                                  <p:childTnLst>
                                    <p:set>
                                      <p:cBhvr>
                                        <p:cTn id="49" dur="1" fill="hold">
                                          <p:stCondLst>
                                            <p:cond delay="0"/>
                                          </p:stCondLst>
                                        </p:cTn>
                                        <p:tgtEl>
                                          <p:spTgt spid="31"/>
                                        </p:tgtEl>
                                        <p:attrNameLst>
                                          <p:attrName>style.visibility</p:attrName>
                                        </p:attrNameLst>
                                      </p:cBhvr>
                                      <p:to>
                                        <p:strVal val="visible"/>
                                      </p:to>
                                    </p:set>
                                    <p:animEffect transition="in" filter="wipe(up)">
                                      <p:cBhvr>
                                        <p:cTn id="50" dur="500"/>
                                        <p:tgtEl>
                                          <p:spTgt spid="31"/>
                                        </p:tgtEl>
                                      </p:cBhvr>
                                    </p:animEffect>
                                  </p:childTnLst>
                                </p:cTn>
                              </p:par>
                            </p:childTnLst>
                          </p:cTn>
                        </p:par>
                        <p:par>
                          <p:cTn id="51" fill="hold">
                            <p:stCondLst>
                              <p:cond delay="4000"/>
                            </p:stCondLst>
                            <p:childTnLst>
                              <p:par>
                                <p:cTn id="52" presetID="22" presetClass="entr" presetSubtype="4" fill="hold" grpId="0" nodeType="afterEffect">
                                  <p:stCondLst>
                                    <p:cond delay="0"/>
                                  </p:stCondLst>
                                  <p:childTnLst>
                                    <p:set>
                                      <p:cBhvr>
                                        <p:cTn id="53" dur="1" fill="hold">
                                          <p:stCondLst>
                                            <p:cond delay="0"/>
                                          </p:stCondLst>
                                        </p:cTn>
                                        <p:tgtEl>
                                          <p:spTgt spid="36"/>
                                        </p:tgtEl>
                                        <p:attrNameLst>
                                          <p:attrName>style.visibility</p:attrName>
                                        </p:attrNameLst>
                                      </p:cBhvr>
                                      <p:to>
                                        <p:strVal val="visible"/>
                                      </p:to>
                                    </p:set>
                                    <p:animEffect transition="in" filter="wipe(down)">
                                      <p:cBhvr>
                                        <p:cTn id="54" dur="500"/>
                                        <p:tgtEl>
                                          <p:spTgt spid="36"/>
                                        </p:tgtEl>
                                      </p:cBhvr>
                                    </p:animEffect>
                                  </p:childTnLst>
                                </p:cTn>
                              </p:par>
                            </p:childTnLst>
                          </p:cTn>
                        </p:par>
                        <p:par>
                          <p:cTn id="55" fill="hold">
                            <p:stCondLst>
                              <p:cond delay="4500"/>
                            </p:stCondLst>
                            <p:childTnLst>
                              <p:par>
                                <p:cTn id="56" presetID="22" presetClass="entr" presetSubtype="1" fill="hold" grpId="0" nodeType="afterEffect">
                                  <p:stCondLst>
                                    <p:cond delay="0"/>
                                  </p:stCondLst>
                                  <p:childTnLst>
                                    <p:set>
                                      <p:cBhvr>
                                        <p:cTn id="57" dur="1" fill="hold">
                                          <p:stCondLst>
                                            <p:cond delay="0"/>
                                          </p:stCondLst>
                                        </p:cTn>
                                        <p:tgtEl>
                                          <p:spTgt spid="32"/>
                                        </p:tgtEl>
                                        <p:attrNameLst>
                                          <p:attrName>style.visibility</p:attrName>
                                        </p:attrNameLst>
                                      </p:cBhvr>
                                      <p:to>
                                        <p:strVal val="visible"/>
                                      </p:to>
                                    </p:set>
                                    <p:animEffect transition="in" filter="wipe(up)">
                                      <p:cBhvr>
                                        <p:cTn id="58" dur="500"/>
                                        <p:tgtEl>
                                          <p:spTgt spid="32"/>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3"/>
                                        </p:tgtEl>
                                        <p:attrNameLst>
                                          <p:attrName>style.visibility</p:attrName>
                                        </p:attrNameLst>
                                      </p:cBhvr>
                                      <p:to>
                                        <p:strVal val="visible"/>
                                      </p:to>
                                    </p:set>
                                    <p:animEffect transition="in" filter="fade">
                                      <p:cBhvr>
                                        <p:cTn id="61" dur="500"/>
                                        <p:tgtEl>
                                          <p:spTgt spid="4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51"/>
                                        </p:tgtEl>
                                        <p:attrNameLst>
                                          <p:attrName>style.visibility</p:attrName>
                                        </p:attrNameLst>
                                      </p:cBhvr>
                                      <p:to>
                                        <p:strVal val="visible"/>
                                      </p:to>
                                    </p:set>
                                    <p:animEffect transition="in" filter="fade">
                                      <p:cBhvr>
                                        <p:cTn id="64" dur="500"/>
                                        <p:tgtEl>
                                          <p:spTgt spid="51"/>
                                        </p:tgtEl>
                                      </p:cBhvr>
                                    </p:animEffect>
                                  </p:childTnLst>
                                </p:cTn>
                              </p:par>
                            </p:childTnLst>
                          </p:cTn>
                        </p:par>
                        <p:par>
                          <p:cTn id="65" fill="hold">
                            <p:stCondLst>
                              <p:cond delay="5000"/>
                            </p:stCondLst>
                            <p:childTnLst>
                              <p:par>
                                <p:cTn id="66" presetID="22" presetClass="entr" presetSubtype="1" fill="hold" grpId="0" nodeType="afterEffect">
                                  <p:stCondLst>
                                    <p:cond delay="0"/>
                                  </p:stCondLst>
                                  <p:childTnLst>
                                    <p:set>
                                      <p:cBhvr>
                                        <p:cTn id="67" dur="1" fill="hold">
                                          <p:stCondLst>
                                            <p:cond delay="0"/>
                                          </p:stCondLst>
                                        </p:cTn>
                                        <p:tgtEl>
                                          <p:spTgt spid="26"/>
                                        </p:tgtEl>
                                        <p:attrNameLst>
                                          <p:attrName>style.visibility</p:attrName>
                                        </p:attrNameLst>
                                      </p:cBhvr>
                                      <p:to>
                                        <p:strVal val="visible"/>
                                      </p:to>
                                    </p:set>
                                    <p:animEffect transition="in" filter="wipe(up)">
                                      <p:cBhvr>
                                        <p:cTn id="68" dur="500"/>
                                        <p:tgtEl>
                                          <p:spTgt spid="26"/>
                                        </p:tgtEl>
                                      </p:cBhvr>
                                    </p:animEffect>
                                  </p:childTnLst>
                                </p:cTn>
                              </p:par>
                            </p:childTnLst>
                          </p:cTn>
                        </p:par>
                        <p:par>
                          <p:cTn id="69" fill="hold">
                            <p:stCondLst>
                              <p:cond delay="5500"/>
                            </p:stCondLst>
                            <p:childTnLst>
                              <p:par>
                                <p:cTn id="70" presetID="22" presetClass="entr" presetSubtype="4" fill="hold" grpId="0" nodeType="afterEffect">
                                  <p:stCondLst>
                                    <p:cond delay="0"/>
                                  </p:stCondLst>
                                  <p:childTnLst>
                                    <p:set>
                                      <p:cBhvr>
                                        <p:cTn id="71" dur="1" fill="hold">
                                          <p:stCondLst>
                                            <p:cond delay="0"/>
                                          </p:stCondLst>
                                        </p:cTn>
                                        <p:tgtEl>
                                          <p:spTgt spid="37"/>
                                        </p:tgtEl>
                                        <p:attrNameLst>
                                          <p:attrName>style.visibility</p:attrName>
                                        </p:attrNameLst>
                                      </p:cBhvr>
                                      <p:to>
                                        <p:strVal val="visible"/>
                                      </p:to>
                                    </p:set>
                                    <p:animEffect transition="in" filter="wipe(down)">
                                      <p:cBhvr>
                                        <p:cTn id="72" dur="500"/>
                                        <p:tgtEl>
                                          <p:spTgt spid="37"/>
                                        </p:tgtEl>
                                      </p:cBhvr>
                                    </p:animEffect>
                                  </p:childTnLst>
                                </p:cTn>
                              </p:par>
                            </p:childTnLst>
                          </p:cTn>
                        </p:par>
                        <p:par>
                          <p:cTn id="73" fill="hold">
                            <p:stCondLst>
                              <p:cond delay="6000"/>
                            </p:stCondLst>
                            <p:childTnLst>
                              <p:par>
                                <p:cTn id="74" presetID="22" presetClass="entr" presetSubtype="1" fill="hold" grpId="0" nodeType="afterEffect">
                                  <p:stCondLst>
                                    <p:cond delay="0"/>
                                  </p:stCondLst>
                                  <p:childTnLst>
                                    <p:set>
                                      <p:cBhvr>
                                        <p:cTn id="75" dur="1" fill="hold">
                                          <p:stCondLst>
                                            <p:cond delay="0"/>
                                          </p:stCondLst>
                                        </p:cTn>
                                        <p:tgtEl>
                                          <p:spTgt spid="33"/>
                                        </p:tgtEl>
                                        <p:attrNameLst>
                                          <p:attrName>style.visibility</p:attrName>
                                        </p:attrNameLst>
                                      </p:cBhvr>
                                      <p:to>
                                        <p:strVal val="visible"/>
                                      </p:to>
                                    </p:set>
                                    <p:animEffect transition="in" filter="wipe(up)">
                                      <p:cBhvr>
                                        <p:cTn id="76" dur="500"/>
                                        <p:tgtEl>
                                          <p:spTgt spid="33"/>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45"/>
                                        </p:tgtEl>
                                        <p:attrNameLst>
                                          <p:attrName>style.visibility</p:attrName>
                                        </p:attrNameLst>
                                      </p:cBhvr>
                                      <p:to>
                                        <p:strVal val="visible"/>
                                      </p:to>
                                    </p:set>
                                    <p:animEffect transition="in" filter="fade">
                                      <p:cBhvr>
                                        <p:cTn id="79" dur="500"/>
                                        <p:tgtEl>
                                          <p:spTgt spid="45"/>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53"/>
                                        </p:tgtEl>
                                        <p:attrNameLst>
                                          <p:attrName>style.visibility</p:attrName>
                                        </p:attrNameLst>
                                      </p:cBhvr>
                                      <p:to>
                                        <p:strVal val="visible"/>
                                      </p:to>
                                    </p:set>
                                    <p:animEffect transition="in" filter="fade">
                                      <p:cBhvr>
                                        <p:cTn id="82"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9" grpId="0"/>
      <p:bldP spid="41" grpId="0"/>
      <p:bldP spid="43" grpId="0"/>
      <p:bldP spid="45" grpId="0"/>
      <p:bldP spid="47" grpId="0"/>
      <p:bldP spid="49" grpId="0"/>
      <p:bldP spid="51" grpId="0"/>
      <p:bldP spid="53" grpId="0"/>
      <p:bldP spid="5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D62F4-5E5E-443B-B137-2FDA24EBA753}"/>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Customer  </a:t>
            </a:r>
            <a:r>
              <a:rPr lang="en-US" dirty="0"/>
              <a:t>Team Role Expectations</a:t>
            </a:r>
          </a:p>
        </p:txBody>
      </p:sp>
      <p:sp>
        <p:nvSpPr>
          <p:cNvPr id="3" name="Slide Number Placeholder 2">
            <a:extLst>
              <a:ext uri="{FF2B5EF4-FFF2-40B4-BE49-F238E27FC236}">
                <a16:creationId xmlns:a16="http://schemas.microsoft.com/office/drawing/2014/main" id="{87439991-25B7-4AEC-89E1-FFD2ED64C8C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000" b="0" i="0" u="none" strike="noStrike" kern="1200" cap="none" spc="0" normalizeH="0" baseline="0" noProof="0" smtClean="0">
                <a:ln>
                  <a:noFill/>
                </a:ln>
                <a:solidFill>
                  <a:prstClr val="black"/>
                </a:solidFill>
                <a:effectLst/>
                <a:uLnTx/>
                <a:uFillTx/>
                <a:latin typeface="Calibri"/>
                <a:cs typeface="Calibri"/>
                <a:sym typeface="Calibri"/>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00" b="0" i="0" u="none" strike="noStrike" kern="1200" cap="none" spc="0" normalizeH="0" baseline="0" noProof="0" dirty="0">
              <a:ln>
                <a:noFill/>
              </a:ln>
              <a:solidFill>
                <a:prstClr val="black"/>
              </a:solidFill>
              <a:effectLst/>
              <a:uLnTx/>
              <a:uFillTx/>
              <a:latin typeface="Calibri"/>
              <a:cs typeface="Calibri"/>
              <a:sym typeface="Calibri"/>
            </a:endParaRPr>
          </a:p>
        </p:txBody>
      </p:sp>
      <p:sp>
        <p:nvSpPr>
          <p:cNvPr id="4" name="Rectangle 3">
            <a:extLst>
              <a:ext uri="{FF2B5EF4-FFF2-40B4-BE49-F238E27FC236}">
                <a16:creationId xmlns:a16="http://schemas.microsoft.com/office/drawing/2014/main" id="{4BF5CE6B-0859-4C83-A263-CE1ACDB6261A}"/>
              </a:ext>
            </a:extLst>
          </p:cNvPr>
          <p:cNvSpPr/>
          <p:nvPr/>
        </p:nvSpPr>
        <p:spPr>
          <a:xfrm>
            <a:off x="57909" y="3304954"/>
            <a:ext cx="2941108" cy="1384995"/>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Calibri" panose="020F0502020204030204"/>
                <a:ea typeface="+mn-ea"/>
                <a:cs typeface="+mn-cs"/>
              </a:rPr>
              <a:t>Steering Committe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Establish business vision and expectation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Project governance and facilitation </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Participate in executive requirement sessions</a:t>
            </a:r>
          </a:p>
        </p:txBody>
      </p:sp>
      <p:sp>
        <p:nvSpPr>
          <p:cNvPr id="5" name="Rectangle 4">
            <a:extLst>
              <a:ext uri="{FF2B5EF4-FFF2-40B4-BE49-F238E27FC236}">
                <a16:creationId xmlns:a16="http://schemas.microsoft.com/office/drawing/2014/main" id="{E0E2FA8E-4701-480C-87A5-18623516FCED}"/>
              </a:ext>
            </a:extLst>
          </p:cNvPr>
          <p:cNvSpPr/>
          <p:nvPr/>
        </p:nvSpPr>
        <p:spPr>
          <a:xfrm>
            <a:off x="2652979" y="1631082"/>
            <a:ext cx="2941108" cy="1754326"/>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C000"/>
                </a:solidFill>
                <a:effectLst/>
                <a:uLnTx/>
                <a:uFillTx/>
                <a:latin typeface="Calibri" panose="020F0502020204030204"/>
                <a:ea typeface="+mn-ea"/>
                <a:cs typeface="+mn-cs"/>
              </a:rPr>
              <a:t>Customer Project Manager</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Responsible for overall project delivery and facilitation of required infra/access for implementation team</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Governance of project and coordination with all required stakeholder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Weekly status updates from Implementation team , updates to management </a:t>
            </a:r>
          </a:p>
        </p:txBody>
      </p:sp>
      <p:sp>
        <p:nvSpPr>
          <p:cNvPr id="6" name="Rectangle 5">
            <a:extLst>
              <a:ext uri="{FF2B5EF4-FFF2-40B4-BE49-F238E27FC236}">
                <a16:creationId xmlns:a16="http://schemas.microsoft.com/office/drawing/2014/main" id="{A3EDD871-3130-4553-A4CF-9AFA82932F28}"/>
              </a:ext>
            </a:extLst>
          </p:cNvPr>
          <p:cNvSpPr/>
          <p:nvPr/>
        </p:nvSpPr>
        <p:spPr>
          <a:xfrm>
            <a:off x="5697107" y="3842428"/>
            <a:ext cx="3869626" cy="2677656"/>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92D050"/>
                </a:solidFill>
                <a:effectLst/>
                <a:uLnTx/>
                <a:uFillTx/>
                <a:latin typeface="Calibri" panose="020F0502020204030204"/>
                <a:ea typeface="+mn-ea"/>
                <a:cs typeface="+mn-cs"/>
              </a:rPr>
              <a:t>Business SM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Validate Overall fit and ease of adoption of the proposed solution</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Ensure user training and adoption of proposed solution</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Ensure and Prioritization of key requirements to align with the Project goal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Manage cross track conflicting requirements and resolve the sam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Manage the core key business leads for testing cycles and user training </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Validate the overall readiness for the go live proces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Manage business risks and mitigations during all the phases of the project life cycle</a:t>
            </a:r>
          </a:p>
        </p:txBody>
      </p:sp>
      <p:sp>
        <p:nvSpPr>
          <p:cNvPr id="7" name="Rectangle 6">
            <a:extLst>
              <a:ext uri="{FF2B5EF4-FFF2-40B4-BE49-F238E27FC236}">
                <a16:creationId xmlns:a16="http://schemas.microsoft.com/office/drawing/2014/main" id="{0E582262-78A2-4E61-884B-0FC5311EA73D}"/>
              </a:ext>
            </a:extLst>
          </p:cNvPr>
          <p:cNvSpPr/>
          <p:nvPr/>
        </p:nvSpPr>
        <p:spPr>
          <a:xfrm>
            <a:off x="8948457" y="2177574"/>
            <a:ext cx="3219589" cy="1754326"/>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CB4FF"/>
                </a:solidFill>
                <a:effectLst/>
                <a:uLnTx/>
                <a:uFillTx/>
                <a:latin typeface="Calibri" panose="020F0502020204030204"/>
                <a:ea typeface="+mn-ea"/>
                <a:cs typeface="+mn-cs"/>
              </a:rPr>
              <a:t>Customer IT</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T Expert of the current system architecture related to the track</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T Expert guiding the integration requirements for the proposed solution related to the track</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T Expert guiding the data conversion strategy and its execution related to the track</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T Expert prioritizing the development objects related to the track</a:t>
            </a:r>
          </a:p>
        </p:txBody>
      </p:sp>
      <p:sp>
        <p:nvSpPr>
          <p:cNvPr id="100" name="Oval 99">
            <a:extLst>
              <a:ext uri="{FF2B5EF4-FFF2-40B4-BE49-F238E27FC236}">
                <a16:creationId xmlns:a16="http://schemas.microsoft.com/office/drawing/2014/main" id="{5D97FB32-2659-494F-9909-2260F6022962}"/>
              </a:ext>
            </a:extLst>
          </p:cNvPr>
          <p:cNvSpPr/>
          <p:nvPr/>
        </p:nvSpPr>
        <p:spPr>
          <a:xfrm rot="19813151">
            <a:off x="719644" y="6209447"/>
            <a:ext cx="309196" cy="309196"/>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1" name="Oval 100">
            <a:extLst>
              <a:ext uri="{FF2B5EF4-FFF2-40B4-BE49-F238E27FC236}">
                <a16:creationId xmlns:a16="http://schemas.microsoft.com/office/drawing/2014/main" id="{9A4F3333-C12E-48B6-BFD1-34D4B0AE70EE}"/>
              </a:ext>
            </a:extLst>
          </p:cNvPr>
          <p:cNvSpPr/>
          <p:nvPr/>
        </p:nvSpPr>
        <p:spPr>
          <a:xfrm rot="19813151">
            <a:off x="1094280" y="6201112"/>
            <a:ext cx="278276" cy="278276"/>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 name="Oval 101">
            <a:extLst>
              <a:ext uri="{FF2B5EF4-FFF2-40B4-BE49-F238E27FC236}">
                <a16:creationId xmlns:a16="http://schemas.microsoft.com/office/drawing/2014/main" id="{CC9BDC64-DCC7-4169-9EC8-7F2B7FC13952}"/>
              </a:ext>
            </a:extLst>
          </p:cNvPr>
          <p:cNvSpPr/>
          <p:nvPr/>
        </p:nvSpPr>
        <p:spPr>
          <a:xfrm rot="19813151">
            <a:off x="1412239" y="6192361"/>
            <a:ext cx="247357" cy="24735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 name="Oval 102">
            <a:extLst>
              <a:ext uri="{FF2B5EF4-FFF2-40B4-BE49-F238E27FC236}">
                <a16:creationId xmlns:a16="http://schemas.microsoft.com/office/drawing/2014/main" id="{547F9956-2372-47E9-82FD-527F1A0E0E64}"/>
              </a:ext>
            </a:extLst>
          </p:cNvPr>
          <p:cNvSpPr/>
          <p:nvPr/>
        </p:nvSpPr>
        <p:spPr>
          <a:xfrm rot="19813151">
            <a:off x="1723193" y="6151994"/>
            <a:ext cx="216437" cy="21643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Oval 103">
            <a:extLst>
              <a:ext uri="{FF2B5EF4-FFF2-40B4-BE49-F238E27FC236}">
                <a16:creationId xmlns:a16="http://schemas.microsoft.com/office/drawing/2014/main" id="{C8C67E59-3887-4828-BA7F-36656EDBA659}"/>
              </a:ext>
            </a:extLst>
          </p:cNvPr>
          <p:cNvSpPr/>
          <p:nvPr/>
        </p:nvSpPr>
        <p:spPr>
          <a:xfrm rot="19813151">
            <a:off x="2019548" y="6097157"/>
            <a:ext cx="185518" cy="18551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Oval 104">
            <a:extLst>
              <a:ext uri="{FF2B5EF4-FFF2-40B4-BE49-F238E27FC236}">
                <a16:creationId xmlns:a16="http://schemas.microsoft.com/office/drawing/2014/main" id="{48FC6243-C0F8-44A6-87FA-02CE156413FE}"/>
              </a:ext>
            </a:extLst>
          </p:cNvPr>
          <p:cNvSpPr/>
          <p:nvPr/>
        </p:nvSpPr>
        <p:spPr>
          <a:xfrm rot="19813151">
            <a:off x="2319074" y="6039118"/>
            <a:ext cx="154598" cy="1545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Oval 105">
            <a:extLst>
              <a:ext uri="{FF2B5EF4-FFF2-40B4-BE49-F238E27FC236}">
                <a16:creationId xmlns:a16="http://schemas.microsoft.com/office/drawing/2014/main" id="{9E07C213-611C-4707-87C3-A25618FB0434}"/>
              </a:ext>
            </a:extLst>
          </p:cNvPr>
          <p:cNvSpPr/>
          <p:nvPr/>
        </p:nvSpPr>
        <p:spPr>
          <a:xfrm rot="19813151">
            <a:off x="1574991" y="5297202"/>
            <a:ext cx="123678" cy="12367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Oval 106">
            <a:extLst>
              <a:ext uri="{FF2B5EF4-FFF2-40B4-BE49-F238E27FC236}">
                <a16:creationId xmlns:a16="http://schemas.microsoft.com/office/drawing/2014/main" id="{9382CB57-D015-4307-A841-F9466B8AEBF2}"/>
              </a:ext>
            </a:extLst>
          </p:cNvPr>
          <p:cNvSpPr/>
          <p:nvPr/>
        </p:nvSpPr>
        <p:spPr>
          <a:xfrm rot="19813151">
            <a:off x="1781570" y="5099855"/>
            <a:ext cx="154598" cy="1545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Oval 107">
            <a:extLst>
              <a:ext uri="{FF2B5EF4-FFF2-40B4-BE49-F238E27FC236}">
                <a16:creationId xmlns:a16="http://schemas.microsoft.com/office/drawing/2014/main" id="{F02A5FCD-E7E2-430A-A276-B6CB97A50505}"/>
              </a:ext>
            </a:extLst>
          </p:cNvPr>
          <p:cNvSpPr/>
          <p:nvPr/>
        </p:nvSpPr>
        <p:spPr>
          <a:xfrm rot="19813151">
            <a:off x="1387538" y="5519230"/>
            <a:ext cx="92759" cy="9275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Oval 108">
            <a:extLst>
              <a:ext uri="{FF2B5EF4-FFF2-40B4-BE49-F238E27FC236}">
                <a16:creationId xmlns:a16="http://schemas.microsoft.com/office/drawing/2014/main" id="{41C972E6-0CCD-440D-A87F-CED7EC351884}"/>
              </a:ext>
            </a:extLst>
          </p:cNvPr>
          <p:cNvSpPr/>
          <p:nvPr/>
        </p:nvSpPr>
        <p:spPr>
          <a:xfrm rot="19813151">
            <a:off x="1204567" y="5760129"/>
            <a:ext cx="61839" cy="6183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Oval 109">
            <a:extLst>
              <a:ext uri="{FF2B5EF4-FFF2-40B4-BE49-F238E27FC236}">
                <a16:creationId xmlns:a16="http://schemas.microsoft.com/office/drawing/2014/main" id="{73DC8A72-C30B-4ABF-A451-49A2F3142148}"/>
              </a:ext>
            </a:extLst>
          </p:cNvPr>
          <p:cNvSpPr/>
          <p:nvPr/>
        </p:nvSpPr>
        <p:spPr>
          <a:xfrm rot="19813151">
            <a:off x="1075687" y="6087732"/>
            <a:ext cx="61839" cy="6183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11" name="Straight Connector 110">
            <a:extLst>
              <a:ext uri="{FF2B5EF4-FFF2-40B4-BE49-F238E27FC236}">
                <a16:creationId xmlns:a16="http://schemas.microsoft.com/office/drawing/2014/main" id="{AAE4BB4A-E07B-4563-ABE4-9942803A5B2D}"/>
              </a:ext>
            </a:extLst>
          </p:cNvPr>
          <p:cNvCxnSpPr>
            <a:cxnSpLocks/>
            <a:stCxn id="101" idx="0"/>
            <a:endCxn id="110" idx="4"/>
          </p:cNvCxnSpPr>
          <p:nvPr/>
        </p:nvCxnSpPr>
        <p:spPr>
          <a:xfrm rot="19813151" flipV="1">
            <a:off x="1143137" y="6139857"/>
            <a:ext cx="1" cy="85260"/>
          </a:xfrm>
          <a:prstGeom prst="line">
            <a:avLst/>
          </a:prstGeom>
          <a:solidFill>
            <a:srgbClr val="00CF86"/>
          </a:solid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27493CF1-1D0A-4DA9-BB5B-B942B58781B4}"/>
              </a:ext>
            </a:extLst>
          </p:cNvPr>
          <p:cNvCxnSpPr>
            <a:cxnSpLocks/>
            <a:stCxn id="102" idx="0"/>
            <a:endCxn id="109" idx="4"/>
          </p:cNvCxnSpPr>
          <p:nvPr/>
        </p:nvCxnSpPr>
        <p:spPr>
          <a:xfrm rot="19813151" flipV="1">
            <a:off x="1362666" y="5788152"/>
            <a:ext cx="1" cy="450277"/>
          </a:xfrm>
          <a:prstGeom prst="line">
            <a:avLst/>
          </a:prstGeom>
          <a:solidFill>
            <a:srgbClr val="00CF86"/>
          </a:solid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F076B789-FBA8-40DB-B12E-7090CFBD9CBB}"/>
              </a:ext>
            </a:extLst>
          </p:cNvPr>
          <p:cNvCxnSpPr>
            <a:cxnSpLocks/>
            <a:stCxn id="103" idx="0"/>
            <a:endCxn id="108" idx="4"/>
          </p:cNvCxnSpPr>
          <p:nvPr/>
        </p:nvCxnSpPr>
        <p:spPr>
          <a:xfrm rot="19813151" flipV="1">
            <a:off x="1617307" y="5563224"/>
            <a:ext cx="0" cy="645700"/>
          </a:xfrm>
          <a:prstGeom prst="line">
            <a:avLst/>
          </a:prstGeom>
          <a:solidFill>
            <a:srgbClr val="00CF86"/>
          </a:solid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49FD4204-A07A-4CF7-8CA6-DE3EC4BF305F}"/>
              </a:ext>
            </a:extLst>
          </p:cNvPr>
          <p:cNvCxnSpPr>
            <a:cxnSpLocks/>
            <a:stCxn id="104" idx="0"/>
            <a:endCxn id="106" idx="4"/>
          </p:cNvCxnSpPr>
          <p:nvPr/>
        </p:nvCxnSpPr>
        <p:spPr>
          <a:xfrm rot="19813151" flipV="1">
            <a:off x="1866890" y="5359707"/>
            <a:ext cx="0" cy="802706"/>
          </a:xfrm>
          <a:prstGeom prst="line">
            <a:avLst/>
          </a:prstGeom>
          <a:solidFill>
            <a:srgbClr val="00CF86"/>
          </a:solid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52F6C9F-512C-49DC-A430-98FCF7376ABB}"/>
              </a:ext>
            </a:extLst>
          </p:cNvPr>
          <p:cNvCxnSpPr>
            <a:cxnSpLocks/>
            <a:stCxn id="105" idx="0"/>
            <a:endCxn id="107" idx="4"/>
          </p:cNvCxnSpPr>
          <p:nvPr/>
        </p:nvCxnSpPr>
        <p:spPr>
          <a:xfrm rot="19813151" flipV="1">
            <a:off x="2127620" y="5182992"/>
            <a:ext cx="0" cy="927587"/>
          </a:xfrm>
          <a:prstGeom prst="line">
            <a:avLst/>
          </a:prstGeom>
          <a:solidFill>
            <a:srgbClr val="00CF86"/>
          </a:solidFill>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16" name="Oval 115">
            <a:extLst>
              <a:ext uri="{FF2B5EF4-FFF2-40B4-BE49-F238E27FC236}">
                <a16:creationId xmlns:a16="http://schemas.microsoft.com/office/drawing/2014/main" id="{3FECE425-1B4C-4EFC-978E-07EC15F354B9}"/>
              </a:ext>
            </a:extLst>
          </p:cNvPr>
          <p:cNvSpPr/>
          <p:nvPr/>
        </p:nvSpPr>
        <p:spPr>
          <a:xfrm rot="19813151" flipH="1" flipV="1">
            <a:off x="3227419" y="4764319"/>
            <a:ext cx="309196" cy="309196"/>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7" name="Oval 116">
            <a:extLst>
              <a:ext uri="{FF2B5EF4-FFF2-40B4-BE49-F238E27FC236}">
                <a16:creationId xmlns:a16="http://schemas.microsoft.com/office/drawing/2014/main" id="{A5C17E68-67A6-4445-B35E-99E9658426B3}"/>
              </a:ext>
            </a:extLst>
          </p:cNvPr>
          <p:cNvSpPr/>
          <p:nvPr/>
        </p:nvSpPr>
        <p:spPr>
          <a:xfrm rot="19813151" flipH="1" flipV="1">
            <a:off x="2890641" y="4809630"/>
            <a:ext cx="278276" cy="278276"/>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 name="Oval 117">
            <a:extLst>
              <a:ext uri="{FF2B5EF4-FFF2-40B4-BE49-F238E27FC236}">
                <a16:creationId xmlns:a16="http://schemas.microsoft.com/office/drawing/2014/main" id="{93796A3F-C90F-4782-A408-6370DB54984B}"/>
              </a:ext>
            </a:extLst>
          </p:cNvPr>
          <p:cNvSpPr/>
          <p:nvPr/>
        </p:nvSpPr>
        <p:spPr>
          <a:xfrm rot="19813151" flipH="1" flipV="1">
            <a:off x="2590538" y="4856776"/>
            <a:ext cx="247357" cy="24735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9" name="Oval 118">
            <a:extLst>
              <a:ext uri="{FF2B5EF4-FFF2-40B4-BE49-F238E27FC236}">
                <a16:creationId xmlns:a16="http://schemas.microsoft.com/office/drawing/2014/main" id="{105551BF-65A0-473B-9D80-E54643990271}"/>
              </a:ext>
            </a:extLst>
          </p:cNvPr>
          <p:cNvSpPr/>
          <p:nvPr/>
        </p:nvSpPr>
        <p:spPr>
          <a:xfrm rot="19813151" flipH="1" flipV="1">
            <a:off x="2313394" y="4926409"/>
            <a:ext cx="216437" cy="21643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 name="Oval 119">
            <a:extLst>
              <a:ext uri="{FF2B5EF4-FFF2-40B4-BE49-F238E27FC236}">
                <a16:creationId xmlns:a16="http://schemas.microsoft.com/office/drawing/2014/main" id="{49CDD9A6-C39B-4CAA-9A1B-2C51B5A1A92A}"/>
              </a:ext>
            </a:extLst>
          </p:cNvPr>
          <p:cNvSpPr/>
          <p:nvPr/>
        </p:nvSpPr>
        <p:spPr>
          <a:xfrm rot="19813151" flipH="1" flipV="1">
            <a:off x="2051455" y="5010164"/>
            <a:ext cx="185518" cy="18551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Oval 120">
            <a:extLst>
              <a:ext uri="{FF2B5EF4-FFF2-40B4-BE49-F238E27FC236}">
                <a16:creationId xmlns:a16="http://schemas.microsoft.com/office/drawing/2014/main" id="{8B1747C4-FE75-43FC-AD18-DD78BE847696}"/>
              </a:ext>
            </a:extLst>
          </p:cNvPr>
          <p:cNvSpPr/>
          <p:nvPr/>
        </p:nvSpPr>
        <p:spPr>
          <a:xfrm rot="19813151" flipH="1" flipV="1">
            <a:off x="2562771" y="5880555"/>
            <a:ext cx="123678" cy="12367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2" name="Oval 121">
            <a:extLst>
              <a:ext uri="{FF2B5EF4-FFF2-40B4-BE49-F238E27FC236}">
                <a16:creationId xmlns:a16="http://schemas.microsoft.com/office/drawing/2014/main" id="{C44F41A1-8962-4A54-845F-6EE651E7FA39}"/>
              </a:ext>
            </a:extLst>
          </p:cNvPr>
          <p:cNvSpPr/>
          <p:nvPr/>
        </p:nvSpPr>
        <p:spPr>
          <a:xfrm rot="19813151" flipH="1" flipV="1">
            <a:off x="2772729" y="5682851"/>
            <a:ext cx="92759" cy="9275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Oval 122">
            <a:extLst>
              <a:ext uri="{FF2B5EF4-FFF2-40B4-BE49-F238E27FC236}">
                <a16:creationId xmlns:a16="http://schemas.microsoft.com/office/drawing/2014/main" id="{6A9163FC-73DF-4926-A6DB-B62E7752D658}"/>
              </a:ext>
            </a:extLst>
          </p:cNvPr>
          <p:cNvSpPr/>
          <p:nvPr/>
        </p:nvSpPr>
        <p:spPr>
          <a:xfrm rot="19813151" flipH="1" flipV="1">
            <a:off x="2964050" y="5440136"/>
            <a:ext cx="61839" cy="6183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4" name="Oval 123">
            <a:extLst>
              <a:ext uri="{FF2B5EF4-FFF2-40B4-BE49-F238E27FC236}">
                <a16:creationId xmlns:a16="http://schemas.microsoft.com/office/drawing/2014/main" id="{C8CA5639-920A-4268-9742-C01EF225B24A}"/>
              </a:ext>
            </a:extLst>
          </p:cNvPr>
          <p:cNvSpPr/>
          <p:nvPr/>
        </p:nvSpPr>
        <p:spPr>
          <a:xfrm rot="19813151" flipH="1" flipV="1">
            <a:off x="3140432" y="5165238"/>
            <a:ext cx="61839" cy="6183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5" name="Straight Connector 124">
            <a:extLst>
              <a:ext uri="{FF2B5EF4-FFF2-40B4-BE49-F238E27FC236}">
                <a16:creationId xmlns:a16="http://schemas.microsoft.com/office/drawing/2014/main" id="{CF8D4C97-D685-4B59-8422-C8AC275912AD}"/>
              </a:ext>
            </a:extLst>
          </p:cNvPr>
          <p:cNvCxnSpPr>
            <a:stCxn id="117" idx="0"/>
            <a:endCxn id="124" idx="4"/>
          </p:cNvCxnSpPr>
          <p:nvPr/>
        </p:nvCxnSpPr>
        <p:spPr>
          <a:xfrm rot="19813151">
            <a:off x="3127440" y="5061938"/>
            <a:ext cx="1" cy="114976"/>
          </a:xfrm>
          <a:prstGeom prst="line">
            <a:avLst/>
          </a:prstGeom>
          <a:solidFill>
            <a:srgbClr val="00CF86"/>
          </a:solid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29DBE707-CDCB-4691-888D-DFBCE18CBBF1}"/>
              </a:ext>
            </a:extLst>
          </p:cNvPr>
          <p:cNvCxnSpPr>
            <a:cxnSpLocks/>
            <a:stCxn id="118" idx="0"/>
          </p:cNvCxnSpPr>
          <p:nvPr/>
        </p:nvCxnSpPr>
        <p:spPr>
          <a:xfrm rot="19813151">
            <a:off x="2887468" y="5058064"/>
            <a:ext cx="1" cy="450277"/>
          </a:xfrm>
          <a:prstGeom prst="line">
            <a:avLst/>
          </a:prstGeom>
          <a:solidFill>
            <a:srgbClr val="00CF86"/>
          </a:solid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71D760AB-2024-400F-BBD1-40E5D62AC751}"/>
              </a:ext>
            </a:extLst>
          </p:cNvPr>
          <p:cNvCxnSpPr>
            <a:cxnSpLocks/>
            <a:stCxn id="119" idx="0"/>
            <a:endCxn id="122" idx="4"/>
          </p:cNvCxnSpPr>
          <p:nvPr/>
        </p:nvCxnSpPr>
        <p:spPr>
          <a:xfrm rot="19813151">
            <a:off x="2635717" y="5085915"/>
            <a:ext cx="0" cy="645700"/>
          </a:xfrm>
          <a:prstGeom prst="line">
            <a:avLst/>
          </a:prstGeom>
          <a:solidFill>
            <a:srgbClr val="00CF86"/>
          </a:solid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B6231E98-A55F-450D-8F13-84335AF3ED1C}"/>
              </a:ext>
            </a:extLst>
          </p:cNvPr>
          <p:cNvCxnSpPr>
            <a:cxnSpLocks/>
            <a:stCxn id="120" idx="0"/>
            <a:endCxn id="121" idx="4"/>
          </p:cNvCxnSpPr>
          <p:nvPr/>
        </p:nvCxnSpPr>
        <p:spPr>
          <a:xfrm rot="19813151">
            <a:off x="2392090" y="5129772"/>
            <a:ext cx="0" cy="812610"/>
          </a:xfrm>
          <a:prstGeom prst="line">
            <a:avLst/>
          </a:prstGeom>
          <a:solidFill>
            <a:srgbClr val="00CF86"/>
          </a:solidFill>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A633E328-5A30-4E77-937A-04B6975DA432}"/>
              </a:ext>
            </a:extLst>
          </p:cNvPr>
          <p:cNvSpPr/>
          <p:nvPr/>
        </p:nvSpPr>
        <p:spPr>
          <a:xfrm rot="19813151">
            <a:off x="3228111" y="4765526"/>
            <a:ext cx="309196" cy="30919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Oval 71">
            <a:extLst>
              <a:ext uri="{FF2B5EF4-FFF2-40B4-BE49-F238E27FC236}">
                <a16:creationId xmlns:a16="http://schemas.microsoft.com/office/drawing/2014/main" id="{A078564D-3960-4E8C-9D53-EA7960010F66}"/>
              </a:ext>
            </a:extLst>
          </p:cNvPr>
          <p:cNvSpPr/>
          <p:nvPr/>
        </p:nvSpPr>
        <p:spPr>
          <a:xfrm rot="19813151">
            <a:off x="3602747" y="4757191"/>
            <a:ext cx="278276" cy="27827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Oval 72">
            <a:extLst>
              <a:ext uri="{FF2B5EF4-FFF2-40B4-BE49-F238E27FC236}">
                <a16:creationId xmlns:a16="http://schemas.microsoft.com/office/drawing/2014/main" id="{31B6F57F-37E0-4591-BA26-6F028A8D46CF}"/>
              </a:ext>
            </a:extLst>
          </p:cNvPr>
          <p:cNvSpPr/>
          <p:nvPr/>
        </p:nvSpPr>
        <p:spPr>
          <a:xfrm rot="19813151">
            <a:off x="3920706" y="4748440"/>
            <a:ext cx="247357" cy="2473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Oval 73">
            <a:extLst>
              <a:ext uri="{FF2B5EF4-FFF2-40B4-BE49-F238E27FC236}">
                <a16:creationId xmlns:a16="http://schemas.microsoft.com/office/drawing/2014/main" id="{4D3DB8C4-6815-411D-91BB-AC6CECAF6C8C}"/>
              </a:ext>
            </a:extLst>
          </p:cNvPr>
          <p:cNvSpPr/>
          <p:nvPr/>
        </p:nvSpPr>
        <p:spPr>
          <a:xfrm rot="19813151">
            <a:off x="4231660" y="4708073"/>
            <a:ext cx="216437" cy="21643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Oval 74">
            <a:extLst>
              <a:ext uri="{FF2B5EF4-FFF2-40B4-BE49-F238E27FC236}">
                <a16:creationId xmlns:a16="http://schemas.microsoft.com/office/drawing/2014/main" id="{305ABC85-A5A5-48F4-9C14-A9E8A2ED2038}"/>
              </a:ext>
            </a:extLst>
          </p:cNvPr>
          <p:cNvSpPr/>
          <p:nvPr/>
        </p:nvSpPr>
        <p:spPr>
          <a:xfrm rot="19813151">
            <a:off x="4528015" y="4653236"/>
            <a:ext cx="185518" cy="18551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 name="Oval 75">
            <a:extLst>
              <a:ext uri="{FF2B5EF4-FFF2-40B4-BE49-F238E27FC236}">
                <a16:creationId xmlns:a16="http://schemas.microsoft.com/office/drawing/2014/main" id="{DA456B94-B00E-4EAE-9AAA-713AFD47080E}"/>
              </a:ext>
            </a:extLst>
          </p:cNvPr>
          <p:cNvSpPr/>
          <p:nvPr/>
        </p:nvSpPr>
        <p:spPr>
          <a:xfrm rot="19813151">
            <a:off x="4827541" y="4595197"/>
            <a:ext cx="154598" cy="15459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Oval 76">
            <a:extLst>
              <a:ext uri="{FF2B5EF4-FFF2-40B4-BE49-F238E27FC236}">
                <a16:creationId xmlns:a16="http://schemas.microsoft.com/office/drawing/2014/main" id="{0D16C061-06FE-431C-98F1-2AB4F9EB2BF2}"/>
              </a:ext>
            </a:extLst>
          </p:cNvPr>
          <p:cNvSpPr/>
          <p:nvPr/>
        </p:nvSpPr>
        <p:spPr>
          <a:xfrm rot="19813151">
            <a:off x="4083458" y="3853281"/>
            <a:ext cx="123678" cy="1236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 name="Oval 77">
            <a:extLst>
              <a:ext uri="{FF2B5EF4-FFF2-40B4-BE49-F238E27FC236}">
                <a16:creationId xmlns:a16="http://schemas.microsoft.com/office/drawing/2014/main" id="{18D133DE-D227-469F-925D-615703420C15}"/>
              </a:ext>
            </a:extLst>
          </p:cNvPr>
          <p:cNvSpPr/>
          <p:nvPr/>
        </p:nvSpPr>
        <p:spPr>
          <a:xfrm rot="19813151">
            <a:off x="4290037" y="3655934"/>
            <a:ext cx="154598" cy="15459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Oval 78">
            <a:extLst>
              <a:ext uri="{FF2B5EF4-FFF2-40B4-BE49-F238E27FC236}">
                <a16:creationId xmlns:a16="http://schemas.microsoft.com/office/drawing/2014/main" id="{60B09B75-9C09-438A-8BFB-10D1FEF41E97}"/>
              </a:ext>
            </a:extLst>
          </p:cNvPr>
          <p:cNvSpPr/>
          <p:nvPr/>
        </p:nvSpPr>
        <p:spPr>
          <a:xfrm rot="19813151">
            <a:off x="3896005" y="4075309"/>
            <a:ext cx="92759" cy="9275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 name="Oval 79">
            <a:extLst>
              <a:ext uri="{FF2B5EF4-FFF2-40B4-BE49-F238E27FC236}">
                <a16:creationId xmlns:a16="http://schemas.microsoft.com/office/drawing/2014/main" id="{566C3F8F-5909-4585-9073-D66820109C04}"/>
              </a:ext>
            </a:extLst>
          </p:cNvPr>
          <p:cNvSpPr/>
          <p:nvPr/>
        </p:nvSpPr>
        <p:spPr>
          <a:xfrm rot="19813151">
            <a:off x="3713034" y="4316208"/>
            <a:ext cx="61839" cy="6183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Oval 80">
            <a:extLst>
              <a:ext uri="{FF2B5EF4-FFF2-40B4-BE49-F238E27FC236}">
                <a16:creationId xmlns:a16="http://schemas.microsoft.com/office/drawing/2014/main" id="{58A3FC05-5E62-4D68-BA30-33462E65DF1A}"/>
              </a:ext>
            </a:extLst>
          </p:cNvPr>
          <p:cNvSpPr/>
          <p:nvPr/>
        </p:nvSpPr>
        <p:spPr>
          <a:xfrm rot="19813151">
            <a:off x="3584154" y="4643811"/>
            <a:ext cx="61839" cy="6183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82" name="Straight Connector 81">
            <a:extLst>
              <a:ext uri="{FF2B5EF4-FFF2-40B4-BE49-F238E27FC236}">
                <a16:creationId xmlns:a16="http://schemas.microsoft.com/office/drawing/2014/main" id="{0A2EF920-B605-4D96-9E47-5BD725CF6FD3}"/>
              </a:ext>
            </a:extLst>
          </p:cNvPr>
          <p:cNvCxnSpPr>
            <a:cxnSpLocks/>
            <a:stCxn id="72" idx="0"/>
            <a:endCxn id="81" idx="4"/>
          </p:cNvCxnSpPr>
          <p:nvPr/>
        </p:nvCxnSpPr>
        <p:spPr>
          <a:xfrm rot="19813151" flipV="1">
            <a:off x="3651604" y="4695936"/>
            <a:ext cx="1" cy="85260"/>
          </a:xfrm>
          <a:prstGeom prst="line">
            <a:avLst/>
          </a:prstGeom>
          <a:solidFill>
            <a:srgbClr val="00BBAB"/>
          </a:solidFill>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C33F00D5-B9C0-4D3E-B8C5-0BEB732530EE}"/>
              </a:ext>
            </a:extLst>
          </p:cNvPr>
          <p:cNvCxnSpPr>
            <a:cxnSpLocks/>
            <a:stCxn id="73" idx="0"/>
            <a:endCxn id="80" idx="4"/>
          </p:cNvCxnSpPr>
          <p:nvPr/>
        </p:nvCxnSpPr>
        <p:spPr>
          <a:xfrm rot="19813151" flipV="1">
            <a:off x="3871133" y="4344231"/>
            <a:ext cx="1" cy="450277"/>
          </a:xfrm>
          <a:prstGeom prst="line">
            <a:avLst/>
          </a:prstGeom>
          <a:solidFill>
            <a:srgbClr val="00BBAB"/>
          </a:solidFill>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47F07A1-2439-401C-A629-6FC90EA12B56}"/>
              </a:ext>
            </a:extLst>
          </p:cNvPr>
          <p:cNvCxnSpPr>
            <a:cxnSpLocks/>
            <a:stCxn id="74" idx="0"/>
            <a:endCxn id="79" idx="4"/>
          </p:cNvCxnSpPr>
          <p:nvPr/>
        </p:nvCxnSpPr>
        <p:spPr>
          <a:xfrm rot="19813151" flipV="1">
            <a:off x="4125774" y="4119303"/>
            <a:ext cx="0" cy="645700"/>
          </a:xfrm>
          <a:prstGeom prst="line">
            <a:avLst/>
          </a:prstGeom>
          <a:solidFill>
            <a:srgbClr val="00BBAB"/>
          </a:solidFill>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F70E9F4-1F62-4061-98EA-D9B76623911C}"/>
              </a:ext>
            </a:extLst>
          </p:cNvPr>
          <p:cNvCxnSpPr>
            <a:cxnSpLocks/>
            <a:stCxn id="75" idx="0"/>
            <a:endCxn id="77" idx="4"/>
          </p:cNvCxnSpPr>
          <p:nvPr/>
        </p:nvCxnSpPr>
        <p:spPr>
          <a:xfrm rot="19813151" flipV="1">
            <a:off x="4375357" y="3915786"/>
            <a:ext cx="0" cy="802706"/>
          </a:xfrm>
          <a:prstGeom prst="line">
            <a:avLst/>
          </a:prstGeom>
          <a:solidFill>
            <a:srgbClr val="00BBAB"/>
          </a:solidFill>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412CC6F-8A0B-4B80-8517-161E34BE71D0}"/>
              </a:ext>
            </a:extLst>
          </p:cNvPr>
          <p:cNvCxnSpPr>
            <a:cxnSpLocks/>
            <a:stCxn id="76" idx="0"/>
            <a:endCxn id="78" idx="4"/>
          </p:cNvCxnSpPr>
          <p:nvPr/>
        </p:nvCxnSpPr>
        <p:spPr>
          <a:xfrm rot="19813151" flipV="1">
            <a:off x="4636087" y="3739071"/>
            <a:ext cx="0" cy="927587"/>
          </a:xfrm>
          <a:prstGeom prst="line">
            <a:avLst/>
          </a:prstGeom>
          <a:solidFill>
            <a:srgbClr val="00BBAB"/>
          </a:solidFill>
          <a:ln>
            <a:solidFill>
              <a:srgbClr val="FFC000"/>
            </a:solidFill>
          </a:ln>
        </p:spPr>
        <p:style>
          <a:lnRef idx="1">
            <a:schemeClr val="accent1"/>
          </a:lnRef>
          <a:fillRef idx="0">
            <a:schemeClr val="accent1"/>
          </a:fillRef>
          <a:effectRef idx="0">
            <a:schemeClr val="accent1"/>
          </a:effectRef>
          <a:fontRef idx="minor">
            <a:schemeClr val="tx1"/>
          </a:fontRef>
        </p:style>
      </p:cxnSp>
      <p:sp>
        <p:nvSpPr>
          <p:cNvPr id="87" name="Oval 86">
            <a:extLst>
              <a:ext uri="{FF2B5EF4-FFF2-40B4-BE49-F238E27FC236}">
                <a16:creationId xmlns:a16="http://schemas.microsoft.com/office/drawing/2014/main" id="{7D451B43-B330-4BE4-A1F3-BB612F7FA032}"/>
              </a:ext>
            </a:extLst>
          </p:cNvPr>
          <p:cNvSpPr/>
          <p:nvPr/>
        </p:nvSpPr>
        <p:spPr>
          <a:xfrm rot="19813151" flipH="1" flipV="1">
            <a:off x="5744346" y="3320570"/>
            <a:ext cx="309196" cy="30919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Oval 87">
            <a:extLst>
              <a:ext uri="{FF2B5EF4-FFF2-40B4-BE49-F238E27FC236}">
                <a16:creationId xmlns:a16="http://schemas.microsoft.com/office/drawing/2014/main" id="{F4892259-B51B-48D0-AD5F-B653F9B16E27}"/>
              </a:ext>
            </a:extLst>
          </p:cNvPr>
          <p:cNvSpPr/>
          <p:nvPr/>
        </p:nvSpPr>
        <p:spPr>
          <a:xfrm rot="19813151" flipH="1" flipV="1">
            <a:off x="5399108" y="3365709"/>
            <a:ext cx="278276" cy="27827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9" name="Oval 88">
            <a:extLst>
              <a:ext uri="{FF2B5EF4-FFF2-40B4-BE49-F238E27FC236}">
                <a16:creationId xmlns:a16="http://schemas.microsoft.com/office/drawing/2014/main" id="{04DA1589-117A-4003-9FE7-B862F4A507F1}"/>
              </a:ext>
            </a:extLst>
          </p:cNvPr>
          <p:cNvSpPr/>
          <p:nvPr/>
        </p:nvSpPr>
        <p:spPr>
          <a:xfrm rot="19813151" flipH="1" flipV="1">
            <a:off x="5099005" y="3412855"/>
            <a:ext cx="247357" cy="2473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Oval 89">
            <a:extLst>
              <a:ext uri="{FF2B5EF4-FFF2-40B4-BE49-F238E27FC236}">
                <a16:creationId xmlns:a16="http://schemas.microsoft.com/office/drawing/2014/main" id="{94A8B8B7-0B86-4242-8860-4B1FDB3EAE44}"/>
              </a:ext>
            </a:extLst>
          </p:cNvPr>
          <p:cNvSpPr/>
          <p:nvPr/>
        </p:nvSpPr>
        <p:spPr>
          <a:xfrm rot="19813151" flipH="1" flipV="1">
            <a:off x="4821861" y="3482488"/>
            <a:ext cx="216437" cy="21643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Oval 90">
            <a:extLst>
              <a:ext uri="{FF2B5EF4-FFF2-40B4-BE49-F238E27FC236}">
                <a16:creationId xmlns:a16="http://schemas.microsoft.com/office/drawing/2014/main" id="{589D78D2-D38E-4F4C-B329-1C4621FDFD12}"/>
              </a:ext>
            </a:extLst>
          </p:cNvPr>
          <p:cNvSpPr/>
          <p:nvPr/>
        </p:nvSpPr>
        <p:spPr>
          <a:xfrm rot="19813151" flipH="1" flipV="1">
            <a:off x="4559922" y="3566243"/>
            <a:ext cx="185518" cy="18551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2" name="Oval 91">
            <a:extLst>
              <a:ext uri="{FF2B5EF4-FFF2-40B4-BE49-F238E27FC236}">
                <a16:creationId xmlns:a16="http://schemas.microsoft.com/office/drawing/2014/main" id="{5D47241E-304C-429B-A6A2-E4D5C5365D64}"/>
              </a:ext>
            </a:extLst>
          </p:cNvPr>
          <p:cNvSpPr/>
          <p:nvPr/>
        </p:nvSpPr>
        <p:spPr>
          <a:xfrm rot="19813151" flipH="1" flipV="1">
            <a:off x="5071238" y="4436634"/>
            <a:ext cx="123678" cy="1236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Oval 92">
            <a:extLst>
              <a:ext uri="{FF2B5EF4-FFF2-40B4-BE49-F238E27FC236}">
                <a16:creationId xmlns:a16="http://schemas.microsoft.com/office/drawing/2014/main" id="{61B30DE6-6C79-4801-954A-B37F49024EBA}"/>
              </a:ext>
            </a:extLst>
          </p:cNvPr>
          <p:cNvSpPr/>
          <p:nvPr/>
        </p:nvSpPr>
        <p:spPr>
          <a:xfrm rot="19813151" flipH="1" flipV="1">
            <a:off x="5281196" y="4238930"/>
            <a:ext cx="92759" cy="9275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Oval 93">
            <a:extLst>
              <a:ext uri="{FF2B5EF4-FFF2-40B4-BE49-F238E27FC236}">
                <a16:creationId xmlns:a16="http://schemas.microsoft.com/office/drawing/2014/main" id="{553EBB11-CDF8-449F-9B5F-43C5C612194E}"/>
              </a:ext>
            </a:extLst>
          </p:cNvPr>
          <p:cNvSpPr/>
          <p:nvPr/>
        </p:nvSpPr>
        <p:spPr>
          <a:xfrm rot="19813151" flipH="1" flipV="1">
            <a:off x="5472517" y="3996215"/>
            <a:ext cx="61839" cy="6183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Oval 94">
            <a:extLst>
              <a:ext uri="{FF2B5EF4-FFF2-40B4-BE49-F238E27FC236}">
                <a16:creationId xmlns:a16="http://schemas.microsoft.com/office/drawing/2014/main" id="{6DD8C851-358C-47CF-B51C-846BBB89B33D}"/>
              </a:ext>
            </a:extLst>
          </p:cNvPr>
          <p:cNvSpPr/>
          <p:nvPr/>
        </p:nvSpPr>
        <p:spPr>
          <a:xfrm rot="19813151" flipH="1" flipV="1">
            <a:off x="5648899" y="3721317"/>
            <a:ext cx="61839" cy="6183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96" name="Straight Connector 95">
            <a:extLst>
              <a:ext uri="{FF2B5EF4-FFF2-40B4-BE49-F238E27FC236}">
                <a16:creationId xmlns:a16="http://schemas.microsoft.com/office/drawing/2014/main" id="{56C57DEE-C44B-4698-8202-01F838DE84EC}"/>
              </a:ext>
            </a:extLst>
          </p:cNvPr>
          <p:cNvCxnSpPr>
            <a:stCxn id="88" idx="0"/>
            <a:endCxn id="95" idx="4"/>
          </p:cNvCxnSpPr>
          <p:nvPr/>
        </p:nvCxnSpPr>
        <p:spPr>
          <a:xfrm rot="19813151">
            <a:off x="5635907" y="3618017"/>
            <a:ext cx="1" cy="114976"/>
          </a:xfrm>
          <a:prstGeom prst="line">
            <a:avLst/>
          </a:prstGeom>
          <a:solidFill>
            <a:srgbClr val="00BBAB"/>
          </a:solidFill>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A22940E9-51E9-41AB-9890-E21E9BC97E03}"/>
              </a:ext>
            </a:extLst>
          </p:cNvPr>
          <p:cNvCxnSpPr>
            <a:cxnSpLocks/>
            <a:stCxn id="89" idx="0"/>
          </p:cNvCxnSpPr>
          <p:nvPr/>
        </p:nvCxnSpPr>
        <p:spPr>
          <a:xfrm rot="19813151">
            <a:off x="5395935" y="3614143"/>
            <a:ext cx="1" cy="450277"/>
          </a:xfrm>
          <a:prstGeom prst="line">
            <a:avLst/>
          </a:prstGeom>
          <a:solidFill>
            <a:srgbClr val="00BBAB"/>
          </a:solidFill>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EA64FD5-EA2F-49E6-88C3-478A3D19CA47}"/>
              </a:ext>
            </a:extLst>
          </p:cNvPr>
          <p:cNvCxnSpPr>
            <a:cxnSpLocks/>
            <a:stCxn id="90" idx="0"/>
            <a:endCxn id="93" idx="4"/>
          </p:cNvCxnSpPr>
          <p:nvPr/>
        </p:nvCxnSpPr>
        <p:spPr>
          <a:xfrm rot="19813151">
            <a:off x="5144184" y="3641994"/>
            <a:ext cx="0" cy="645700"/>
          </a:xfrm>
          <a:prstGeom prst="line">
            <a:avLst/>
          </a:prstGeom>
          <a:solidFill>
            <a:srgbClr val="00BBAB"/>
          </a:solidFill>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F3E10ED3-1131-4DA4-B3CA-BE6D3AF02255}"/>
              </a:ext>
            </a:extLst>
          </p:cNvPr>
          <p:cNvCxnSpPr>
            <a:cxnSpLocks/>
            <a:stCxn id="91" idx="0"/>
            <a:endCxn id="92" idx="4"/>
          </p:cNvCxnSpPr>
          <p:nvPr/>
        </p:nvCxnSpPr>
        <p:spPr>
          <a:xfrm rot="19813151">
            <a:off x="4900557" y="3685851"/>
            <a:ext cx="0" cy="812610"/>
          </a:xfrm>
          <a:prstGeom prst="line">
            <a:avLst/>
          </a:prstGeom>
          <a:solidFill>
            <a:srgbClr val="00BBAB"/>
          </a:solidFill>
          <a:ln>
            <a:solidFill>
              <a:srgbClr val="FFC000"/>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6815B7F7-B611-4279-AD73-C036B4A9FF5F}"/>
              </a:ext>
            </a:extLst>
          </p:cNvPr>
          <p:cNvSpPr/>
          <p:nvPr/>
        </p:nvSpPr>
        <p:spPr>
          <a:xfrm rot="19813151">
            <a:off x="5744346" y="3320570"/>
            <a:ext cx="309196" cy="30919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32434A43-9F7B-47BE-9A38-A35E388EF1F7}"/>
              </a:ext>
            </a:extLst>
          </p:cNvPr>
          <p:cNvSpPr/>
          <p:nvPr/>
        </p:nvSpPr>
        <p:spPr>
          <a:xfrm rot="19813151">
            <a:off x="6127443" y="3312407"/>
            <a:ext cx="278276" cy="27827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Oval 43">
            <a:extLst>
              <a:ext uri="{FF2B5EF4-FFF2-40B4-BE49-F238E27FC236}">
                <a16:creationId xmlns:a16="http://schemas.microsoft.com/office/drawing/2014/main" id="{4F67E561-D96A-4FB1-A474-B4C86570228A}"/>
              </a:ext>
            </a:extLst>
          </p:cNvPr>
          <p:cNvSpPr/>
          <p:nvPr/>
        </p:nvSpPr>
        <p:spPr>
          <a:xfrm rot="19813151">
            <a:off x="6445402" y="3303656"/>
            <a:ext cx="247357" cy="24735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Oval 44">
            <a:extLst>
              <a:ext uri="{FF2B5EF4-FFF2-40B4-BE49-F238E27FC236}">
                <a16:creationId xmlns:a16="http://schemas.microsoft.com/office/drawing/2014/main" id="{B761E5CF-4BCE-42EF-8CBE-7553912E8534}"/>
              </a:ext>
            </a:extLst>
          </p:cNvPr>
          <p:cNvSpPr/>
          <p:nvPr/>
        </p:nvSpPr>
        <p:spPr>
          <a:xfrm rot="19813151">
            <a:off x="6756356" y="3263289"/>
            <a:ext cx="216437" cy="21643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Oval 45">
            <a:extLst>
              <a:ext uri="{FF2B5EF4-FFF2-40B4-BE49-F238E27FC236}">
                <a16:creationId xmlns:a16="http://schemas.microsoft.com/office/drawing/2014/main" id="{4D1A0CC1-EB2D-412F-8A2C-6B9255AB1F3E}"/>
              </a:ext>
            </a:extLst>
          </p:cNvPr>
          <p:cNvSpPr/>
          <p:nvPr/>
        </p:nvSpPr>
        <p:spPr>
          <a:xfrm rot="19813151">
            <a:off x="7052711" y="3208452"/>
            <a:ext cx="185518" cy="18551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Oval 46">
            <a:extLst>
              <a:ext uri="{FF2B5EF4-FFF2-40B4-BE49-F238E27FC236}">
                <a16:creationId xmlns:a16="http://schemas.microsoft.com/office/drawing/2014/main" id="{3CB8E757-25CB-413C-A13F-3526926F8B7E}"/>
              </a:ext>
            </a:extLst>
          </p:cNvPr>
          <p:cNvSpPr/>
          <p:nvPr/>
        </p:nvSpPr>
        <p:spPr>
          <a:xfrm rot="19813151">
            <a:off x="7352237" y="3150413"/>
            <a:ext cx="154598" cy="154598"/>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Oval 47">
            <a:extLst>
              <a:ext uri="{FF2B5EF4-FFF2-40B4-BE49-F238E27FC236}">
                <a16:creationId xmlns:a16="http://schemas.microsoft.com/office/drawing/2014/main" id="{AF2462EF-9AC6-41FB-A4EB-0C9287D5C5A1}"/>
              </a:ext>
            </a:extLst>
          </p:cNvPr>
          <p:cNvSpPr/>
          <p:nvPr/>
        </p:nvSpPr>
        <p:spPr>
          <a:xfrm rot="19813151">
            <a:off x="6608154" y="2408497"/>
            <a:ext cx="123678" cy="123678"/>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Oval 48">
            <a:extLst>
              <a:ext uri="{FF2B5EF4-FFF2-40B4-BE49-F238E27FC236}">
                <a16:creationId xmlns:a16="http://schemas.microsoft.com/office/drawing/2014/main" id="{C8A32E7A-D833-42A4-98B8-FD651B866EA0}"/>
              </a:ext>
            </a:extLst>
          </p:cNvPr>
          <p:cNvSpPr/>
          <p:nvPr/>
        </p:nvSpPr>
        <p:spPr>
          <a:xfrm rot="19813151">
            <a:off x="6814733" y="2211150"/>
            <a:ext cx="154598" cy="154598"/>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Oval 49">
            <a:extLst>
              <a:ext uri="{FF2B5EF4-FFF2-40B4-BE49-F238E27FC236}">
                <a16:creationId xmlns:a16="http://schemas.microsoft.com/office/drawing/2014/main" id="{FD1062FF-9FF2-4AC2-9E3E-47226BA23F33}"/>
              </a:ext>
            </a:extLst>
          </p:cNvPr>
          <p:cNvSpPr/>
          <p:nvPr/>
        </p:nvSpPr>
        <p:spPr>
          <a:xfrm rot="19813151">
            <a:off x="6420701" y="2630525"/>
            <a:ext cx="92759" cy="92759"/>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Oval 50">
            <a:extLst>
              <a:ext uri="{FF2B5EF4-FFF2-40B4-BE49-F238E27FC236}">
                <a16:creationId xmlns:a16="http://schemas.microsoft.com/office/drawing/2014/main" id="{32F6C482-EAA6-4706-BFB4-5EC55116408B}"/>
              </a:ext>
            </a:extLst>
          </p:cNvPr>
          <p:cNvSpPr/>
          <p:nvPr/>
        </p:nvSpPr>
        <p:spPr>
          <a:xfrm rot="19813151">
            <a:off x="6237730" y="2871424"/>
            <a:ext cx="61839" cy="61839"/>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Oval 51">
            <a:extLst>
              <a:ext uri="{FF2B5EF4-FFF2-40B4-BE49-F238E27FC236}">
                <a16:creationId xmlns:a16="http://schemas.microsoft.com/office/drawing/2014/main" id="{C0D9796B-3491-4370-9116-F0CC5831BFC0}"/>
              </a:ext>
            </a:extLst>
          </p:cNvPr>
          <p:cNvSpPr/>
          <p:nvPr/>
        </p:nvSpPr>
        <p:spPr>
          <a:xfrm rot="19813151">
            <a:off x="6108850" y="3199027"/>
            <a:ext cx="61839" cy="61839"/>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3" name="Straight Connector 52">
            <a:extLst>
              <a:ext uri="{FF2B5EF4-FFF2-40B4-BE49-F238E27FC236}">
                <a16:creationId xmlns:a16="http://schemas.microsoft.com/office/drawing/2014/main" id="{66BEAA0F-4F2B-4B01-8F9A-DB76CCAF876E}"/>
              </a:ext>
            </a:extLst>
          </p:cNvPr>
          <p:cNvCxnSpPr>
            <a:cxnSpLocks/>
            <a:stCxn id="43" idx="0"/>
            <a:endCxn id="52" idx="4"/>
          </p:cNvCxnSpPr>
          <p:nvPr/>
        </p:nvCxnSpPr>
        <p:spPr>
          <a:xfrm rot="19813151" flipV="1">
            <a:off x="6176300" y="3251152"/>
            <a:ext cx="1" cy="85260"/>
          </a:xfrm>
          <a:prstGeom prst="line">
            <a:avLst/>
          </a:prstGeom>
          <a:solidFill>
            <a:srgbClr val="00909C"/>
          </a:solidFill>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FD21FA6D-1D0B-4195-87A9-905B3B7AA59F}"/>
              </a:ext>
            </a:extLst>
          </p:cNvPr>
          <p:cNvCxnSpPr>
            <a:cxnSpLocks/>
            <a:stCxn id="44" idx="0"/>
            <a:endCxn id="51" idx="4"/>
          </p:cNvCxnSpPr>
          <p:nvPr/>
        </p:nvCxnSpPr>
        <p:spPr>
          <a:xfrm rot="19813151" flipV="1">
            <a:off x="6395829" y="2899447"/>
            <a:ext cx="1" cy="450277"/>
          </a:xfrm>
          <a:prstGeom prst="line">
            <a:avLst/>
          </a:prstGeom>
          <a:solidFill>
            <a:srgbClr val="00909C"/>
          </a:solidFill>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A4B0AA7-3BAB-4AC0-9C55-B7D9131DBA0E}"/>
              </a:ext>
            </a:extLst>
          </p:cNvPr>
          <p:cNvCxnSpPr>
            <a:cxnSpLocks/>
            <a:stCxn id="45" idx="0"/>
            <a:endCxn id="50" idx="4"/>
          </p:cNvCxnSpPr>
          <p:nvPr/>
        </p:nvCxnSpPr>
        <p:spPr>
          <a:xfrm rot="19813151" flipV="1">
            <a:off x="6650470" y="2674519"/>
            <a:ext cx="0" cy="645700"/>
          </a:xfrm>
          <a:prstGeom prst="line">
            <a:avLst/>
          </a:prstGeom>
          <a:solidFill>
            <a:srgbClr val="00909C"/>
          </a:solidFill>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F94741F-1B86-451F-AC66-9E6681FCCB68}"/>
              </a:ext>
            </a:extLst>
          </p:cNvPr>
          <p:cNvCxnSpPr>
            <a:cxnSpLocks/>
            <a:stCxn id="46" idx="0"/>
            <a:endCxn id="48" idx="4"/>
          </p:cNvCxnSpPr>
          <p:nvPr/>
        </p:nvCxnSpPr>
        <p:spPr>
          <a:xfrm rot="19813151" flipV="1">
            <a:off x="6900053" y="2471002"/>
            <a:ext cx="0" cy="802706"/>
          </a:xfrm>
          <a:prstGeom prst="line">
            <a:avLst/>
          </a:prstGeom>
          <a:solidFill>
            <a:srgbClr val="00909C"/>
          </a:solidFill>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8C5446B-EAB0-45A4-AF35-95F6A760DCF6}"/>
              </a:ext>
            </a:extLst>
          </p:cNvPr>
          <p:cNvCxnSpPr>
            <a:cxnSpLocks/>
            <a:stCxn id="47" idx="0"/>
            <a:endCxn id="49" idx="4"/>
          </p:cNvCxnSpPr>
          <p:nvPr/>
        </p:nvCxnSpPr>
        <p:spPr>
          <a:xfrm rot="19813151" flipV="1">
            <a:off x="7160783" y="2294287"/>
            <a:ext cx="0" cy="927587"/>
          </a:xfrm>
          <a:prstGeom prst="line">
            <a:avLst/>
          </a:prstGeom>
          <a:solidFill>
            <a:srgbClr val="00909C"/>
          </a:solidFill>
          <a:ln>
            <a:solidFill>
              <a:srgbClr val="92D050"/>
            </a:solidFill>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2F2FF5BA-A5F1-4040-966A-89A8955F1E86}"/>
              </a:ext>
            </a:extLst>
          </p:cNvPr>
          <p:cNvSpPr/>
          <p:nvPr/>
        </p:nvSpPr>
        <p:spPr>
          <a:xfrm rot="19813151" flipH="1" flipV="1">
            <a:off x="8262743" y="1879390"/>
            <a:ext cx="309196" cy="30919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Oval 58">
            <a:extLst>
              <a:ext uri="{FF2B5EF4-FFF2-40B4-BE49-F238E27FC236}">
                <a16:creationId xmlns:a16="http://schemas.microsoft.com/office/drawing/2014/main" id="{7E019760-C208-40F1-A69B-E617BEC9C5BF}"/>
              </a:ext>
            </a:extLst>
          </p:cNvPr>
          <p:cNvSpPr/>
          <p:nvPr/>
        </p:nvSpPr>
        <p:spPr>
          <a:xfrm rot="19813151" flipH="1" flipV="1">
            <a:off x="7923804" y="1920925"/>
            <a:ext cx="278276" cy="27827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Oval 59">
            <a:extLst>
              <a:ext uri="{FF2B5EF4-FFF2-40B4-BE49-F238E27FC236}">
                <a16:creationId xmlns:a16="http://schemas.microsoft.com/office/drawing/2014/main" id="{761CBB90-E6DA-4DAA-9252-883D39072DE7}"/>
              </a:ext>
            </a:extLst>
          </p:cNvPr>
          <p:cNvSpPr/>
          <p:nvPr/>
        </p:nvSpPr>
        <p:spPr>
          <a:xfrm rot="19813151" flipH="1" flipV="1">
            <a:off x="7623701" y="1968071"/>
            <a:ext cx="247357" cy="24735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a16="http://schemas.microsoft.com/office/drawing/2014/main" id="{8EB6687F-518A-450B-9648-8A5E281B2BFC}"/>
              </a:ext>
            </a:extLst>
          </p:cNvPr>
          <p:cNvSpPr/>
          <p:nvPr/>
        </p:nvSpPr>
        <p:spPr>
          <a:xfrm rot="19813151" flipH="1" flipV="1">
            <a:off x="7346557" y="2037704"/>
            <a:ext cx="216437" cy="21643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Oval 61">
            <a:extLst>
              <a:ext uri="{FF2B5EF4-FFF2-40B4-BE49-F238E27FC236}">
                <a16:creationId xmlns:a16="http://schemas.microsoft.com/office/drawing/2014/main" id="{EF9275C9-2C4B-4C44-938F-28CCE792F084}"/>
              </a:ext>
            </a:extLst>
          </p:cNvPr>
          <p:cNvSpPr/>
          <p:nvPr/>
        </p:nvSpPr>
        <p:spPr>
          <a:xfrm rot="19813151" flipH="1" flipV="1">
            <a:off x="7084618" y="2121459"/>
            <a:ext cx="185518" cy="18551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Oval 62">
            <a:extLst>
              <a:ext uri="{FF2B5EF4-FFF2-40B4-BE49-F238E27FC236}">
                <a16:creationId xmlns:a16="http://schemas.microsoft.com/office/drawing/2014/main" id="{2F960337-5F10-4110-B068-6F34868EA998}"/>
              </a:ext>
            </a:extLst>
          </p:cNvPr>
          <p:cNvSpPr/>
          <p:nvPr/>
        </p:nvSpPr>
        <p:spPr>
          <a:xfrm rot="19813151" flipH="1" flipV="1">
            <a:off x="7595934" y="2991850"/>
            <a:ext cx="123678" cy="123678"/>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a16="http://schemas.microsoft.com/office/drawing/2014/main" id="{AB17E571-278D-4D08-A351-279BA09BC33C}"/>
              </a:ext>
            </a:extLst>
          </p:cNvPr>
          <p:cNvSpPr/>
          <p:nvPr/>
        </p:nvSpPr>
        <p:spPr>
          <a:xfrm rot="19813151" flipH="1" flipV="1">
            <a:off x="7805892" y="2794146"/>
            <a:ext cx="92759" cy="92759"/>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Oval 64">
            <a:extLst>
              <a:ext uri="{FF2B5EF4-FFF2-40B4-BE49-F238E27FC236}">
                <a16:creationId xmlns:a16="http://schemas.microsoft.com/office/drawing/2014/main" id="{449B9178-C584-4565-BE37-EBE0A0273B8F}"/>
              </a:ext>
            </a:extLst>
          </p:cNvPr>
          <p:cNvSpPr/>
          <p:nvPr/>
        </p:nvSpPr>
        <p:spPr>
          <a:xfrm rot="19813151" flipH="1" flipV="1">
            <a:off x="7997213" y="2551431"/>
            <a:ext cx="61839" cy="61839"/>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Oval 65">
            <a:extLst>
              <a:ext uri="{FF2B5EF4-FFF2-40B4-BE49-F238E27FC236}">
                <a16:creationId xmlns:a16="http://schemas.microsoft.com/office/drawing/2014/main" id="{5E3FC427-345C-440D-9535-3B2800A43B5E}"/>
              </a:ext>
            </a:extLst>
          </p:cNvPr>
          <p:cNvSpPr/>
          <p:nvPr/>
        </p:nvSpPr>
        <p:spPr>
          <a:xfrm rot="19813151" flipH="1" flipV="1">
            <a:off x="8173595" y="2276533"/>
            <a:ext cx="61839" cy="61839"/>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7" name="Straight Connector 66">
            <a:extLst>
              <a:ext uri="{FF2B5EF4-FFF2-40B4-BE49-F238E27FC236}">
                <a16:creationId xmlns:a16="http://schemas.microsoft.com/office/drawing/2014/main" id="{570344AF-EC48-486D-9542-BAF4176BAA50}"/>
              </a:ext>
            </a:extLst>
          </p:cNvPr>
          <p:cNvCxnSpPr>
            <a:stCxn id="59" idx="0"/>
            <a:endCxn id="66" idx="4"/>
          </p:cNvCxnSpPr>
          <p:nvPr/>
        </p:nvCxnSpPr>
        <p:spPr>
          <a:xfrm rot="19813151">
            <a:off x="8160603" y="2173233"/>
            <a:ext cx="1" cy="114976"/>
          </a:xfrm>
          <a:prstGeom prst="line">
            <a:avLst/>
          </a:prstGeom>
          <a:solidFill>
            <a:srgbClr val="00909C"/>
          </a:solidFill>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60B0EA1-A722-4EC2-B9E5-E0BD120AA0E4}"/>
              </a:ext>
            </a:extLst>
          </p:cNvPr>
          <p:cNvCxnSpPr>
            <a:cxnSpLocks/>
            <a:stCxn id="60" idx="0"/>
          </p:cNvCxnSpPr>
          <p:nvPr/>
        </p:nvCxnSpPr>
        <p:spPr>
          <a:xfrm rot="19813151">
            <a:off x="7920631" y="2169359"/>
            <a:ext cx="1" cy="450277"/>
          </a:xfrm>
          <a:prstGeom prst="line">
            <a:avLst/>
          </a:prstGeom>
          <a:solidFill>
            <a:srgbClr val="00909C"/>
          </a:solidFill>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F84ACFE-395D-4F5D-AD36-7AD040E09FC9}"/>
              </a:ext>
            </a:extLst>
          </p:cNvPr>
          <p:cNvCxnSpPr>
            <a:cxnSpLocks/>
            <a:stCxn id="61" idx="0"/>
            <a:endCxn id="64" idx="4"/>
          </p:cNvCxnSpPr>
          <p:nvPr/>
        </p:nvCxnSpPr>
        <p:spPr>
          <a:xfrm rot="19813151">
            <a:off x="7668880" y="2197210"/>
            <a:ext cx="0" cy="645700"/>
          </a:xfrm>
          <a:prstGeom prst="line">
            <a:avLst/>
          </a:prstGeom>
          <a:solidFill>
            <a:srgbClr val="00909C"/>
          </a:solidFill>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C80F392-6E1B-4CD0-844C-93FEE43D81A7}"/>
              </a:ext>
            </a:extLst>
          </p:cNvPr>
          <p:cNvCxnSpPr>
            <a:cxnSpLocks/>
            <a:stCxn id="62" idx="0"/>
            <a:endCxn id="63" idx="4"/>
          </p:cNvCxnSpPr>
          <p:nvPr/>
        </p:nvCxnSpPr>
        <p:spPr>
          <a:xfrm rot="19813151">
            <a:off x="7425253" y="2241067"/>
            <a:ext cx="0" cy="812610"/>
          </a:xfrm>
          <a:prstGeom prst="line">
            <a:avLst/>
          </a:prstGeom>
          <a:solidFill>
            <a:srgbClr val="00909C"/>
          </a:solidFill>
          <a:ln>
            <a:solidFill>
              <a:srgbClr val="92D050"/>
            </a:solidFill>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F1221052-ED65-4C42-9328-933BDAC85B74}"/>
              </a:ext>
            </a:extLst>
          </p:cNvPr>
          <p:cNvSpPr/>
          <p:nvPr/>
        </p:nvSpPr>
        <p:spPr>
          <a:xfrm rot="19813151">
            <a:off x="8262743" y="1879390"/>
            <a:ext cx="309196" cy="3091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5877DE0B-E77C-48E8-9E57-026E77F6A069}"/>
              </a:ext>
            </a:extLst>
          </p:cNvPr>
          <p:cNvSpPr/>
          <p:nvPr/>
        </p:nvSpPr>
        <p:spPr>
          <a:xfrm rot="19813151">
            <a:off x="8639540" y="1874831"/>
            <a:ext cx="278276" cy="27827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E9843D29-ACBF-4EC8-9822-4295F15ABC1C}"/>
              </a:ext>
            </a:extLst>
          </p:cNvPr>
          <p:cNvSpPr/>
          <p:nvPr/>
        </p:nvSpPr>
        <p:spPr>
          <a:xfrm rot="19813151">
            <a:off x="8957499" y="1866080"/>
            <a:ext cx="247357" cy="24735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4959A8B1-948D-4AFA-9564-6B5AA155A84A}"/>
              </a:ext>
            </a:extLst>
          </p:cNvPr>
          <p:cNvSpPr/>
          <p:nvPr/>
        </p:nvSpPr>
        <p:spPr>
          <a:xfrm rot="19813151">
            <a:off x="9268453" y="1825713"/>
            <a:ext cx="216437" cy="21643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8D1DBE4C-B470-4357-B008-94729F9B549A}"/>
              </a:ext>
            </a:extLst>
          </p:cNvPr>
          <p:cNvSpPr/>
          <p:nvPr/>
        </p:nvSpPr>
        <p:spPr>
          <a:xfrm rot="19813151">
            <a:off x="9564808" y="1770876"/>
            <a:ext cx="185518" cy="1855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Oval 17">
            <a:extLst>
              <a:ext uri="{FF2B5EF4-FFF2-40B4-BE49-F238E27FC236}">
                <a16:creationId xmlns:a16="http://schemas.microsoft.com/office/drawing/2014/main" id="{B7368350-A721-4F1A-9819-A2EA54EB0AF2}"/>
              </a:ext>
            </a:extLst>
          </p:cNvPr>
          <p:cNvSpPr/>
          <p:nvPr/>
        </p:nvSpPr>
        <p:spPr>
          <a:xfrm rot="19813151">
            <a:off x="9864334" y="1712837"/>
            <a:ext cx="154598" cy="15459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Oval 18">
            <a:extLst>
              <a:ext uri="{FF2B5EF4-FFF2-40B4-BE49-F238E27FC236}">
                <a16:creationId xmlns:a16="http://schemas.microsoft.com/office/drawing/2014/main" id="{F9246120-9DF7-464C-8C6E-64836C059DD0}"/>
              </a:ext>
            </a:extLst>
          </p:cNvPr>
          <p:cNvSpPr/>
          <p:nvPr/>
        </p:nvSpPr>
        <p:spPr>
          <a:xfrm rot="19813151">
            <a:off x="9120251" y="970921"/>
            <a:ext cx="123678" cy="1236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990F7202-ECBD-41F2-B384-F3ED3AFE20CF}"/>
              </a:ext>
            </a:extLst>
          </p:cNvPr>
          <p:cNvSpPr/>
          <p:nvPr/>
        </p:nvSpPr>
        <p:spPr>
          <a:xfrm rot="19813151">
            <a:off x="9326830" y="773574"/>
            <a:ext cx="154598" cy="15459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3A9E1EDF-9E45-4124-95CD-72543712C8D9}"/>
              </a:ext>
            </a:extLst>
          </p:cNvPr>
          <p:cNvSpPr/>
          <p:nvPr/>
        </p:nvSpPr>
        <p:spPr>
          <a:xfrm rot="19813151">
            <a:off x="8932798" y="1192949"/>
            <a:ext cx="92759" cy="927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Oval 21">
            <a:extLst>
              <a:ext uri="{FF2B5EF4-FFF2-40B4-BE49-F238E27FC236}">
                <a16:creationId xmlns:a16="http://schemas.microsoft.com/office/drawing/2014/main" id="{3A5D2EAE-1ADC-4E1E-AAAA-7899179B046D}"/>
              </a:ext>
            </a:extLst>
          </p:cNvPr>
          <p:cNvSpPr/>
          <p:nvPr/>
        </p:nvSpPr>
        <p:spPr>
          <a:xfrm rot="19813151">
            <a:off x="8749827" y="1433848"/>
            <a:ext cx="61839" cy="618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C7BD8B29-D9E7-4CC3-8B48-5B7B034C1006}"/>
              </a:ext>
            </a:extLst>
          </p:cNvPr>
          <p:cNvSpPr/>
          <p:nvPr/>
        </p:nvSpPr>
        <p:spPr>
          <a:xfrm rot="19813151">
            <a:off x="8620947" y="1761451"/>
            <a:ext cx="61839" cy="618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4" name="Straight Connector 23">
            <a:extLst>
              <a:ext uri="{FF2B5EF4-FFF2-40B4-BE49-F238E27FC236}">
                <a16:creationId xmlns:a16="http://schemas.microsoft.com/office/drawing/2014/main" id="{5BB3BCAD-C602-47AA-B917-5D515C7E4CCA}"/>
              </a:ext>
            </a:extLst>
          </p:cNvPr>
          <p:cNvCxnSpPr>
            <a:cxnSpLocks/>
            <a:stCxn id="14" idx="0"/>
            <a:endCxn id="23" idx="4"/>
          </p:cNvCxnSpPr>
          <p:nvPr/>
        </p:nvCxnSpPr>
        <p:spPr>
          <a:xfrm rot="19813151" flipV="1">
            <a:off x="8688397" y="1813576"/>
            <a:ext cx="1" cy="85260"/>
          </a:xfrm>
          <a:prstGeom prst="line">
            <a:avLst/>
          </a:prstGeom>
          <a:solidFill>
            <a:srgbClr val="1E7FB3"/>
          </a:solidFill>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EFC60D7-5B23-4CEF-8CB2-6CE0E6C44CE5}"/>
              </a:ext>
            </a:extLst>
          </p:cNvPr>
          <p:cNvCxnSpPr>
            <a:cxnSpLocks/>
            <a:stCxn id="15" idx="0"/>
            <a:endCxn id="22" idx="4"/>
          </p:cNvCxnSpPr>
          <p:nvPr/>
        </p:nvCxnSpPr>
        <p:spPr>
          <a:xfrm rot="19813151" flipV="1">
            <a:off x="8907926" y="1461871"/>
            <a:ext cx="1" cy="450277"/>
          </a:xfrm>
          <a:prstGeom prst="line">
            <a:avLst/>
          </a:prstGeom>
          <a:solidFill>
            <a:srgbClr val="1E7FB3"/>
          </a:solidFill>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45913DB-56E0-4671-930D-5692DEFEDE6F}"/>
              </a:ext>
            </a:extLst>
          </p:cNvPr>
          <p:cNvCxnSpPr>
            <a:cxnSpLocks/>
            <a:stCxn id="16" idx="0"/>
            <a:endCxn id="21" idx="4"/>
          </p:cNvCxnSpPr>
          <p:nvPr/>
        </p:nvCxnSpPr>
        <p:spPr>
          <a:xfrm rot="19813151" flipV="1">
            <a:off x="9162567" y="1236943"/>
            <a:ext cx="0" cy="645700"/>
          </a:xfrm>
          <a:prstGeom prst="line">
            <a:avLst/>
          </a:prstGeom>
          <a:solidFill>
            <a:srgbClr val="1E7FB3"/>
          </a:solidFill>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A0FB0D4-4595-4E1D-8777-C84F4EDC560E}"/>
              </a:ext>
            </a:extLst>
          </p:cNvPr>
          <p:cNvCxnSpPr>
            <a:cxnSpLocks/>
            <a:stCxn id="17" idx="0"/>
            <a:endCxn id="19" idx="4"/>
          </p:cNvCxnSpPr>
          <p:nvPr/>
        </p:nvCxnSpPr>
        <p:spPr>
          <a:xfrm rot="19813151" flipV="1">
            <a:off x="9412150" y="1033426"/>
            <a:ext cx="0" cy="802706"/>
          </a:xfrm>
          <a:prstGeom prst="line">
            <a:avLst/>
          </a:prstGeom>
          <a:solidFill>
            <a:srgbClr val="1E7FB3"/>
          </a:solidFill>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C24EDE2-5F6D-407B-83C9-77579793E0CA}"/>
              </a:ext>
            </a:extLst>
          </p:cNvPr>
          <p:cNvCxnSpPr>
            <a:cxnSpLocks/>
            <a:stCxn id="18" idx="0"/>
            <a:endCxn id="20" idx="4"/>
          </p:cNvCxnSpPr>
          <p:nvPr/>
        </p:nvCxnSpPr>
        <p:spPr>
          <a:xfrm rot="19813151" flipV="1">
            <a:off x="9672880" y="856711"/>
            <a:ext cx="0" cy="927587"/>
          </a:xfrm>
          <a:prstGeom prst="line">
            <a:avLst/>
          </a:prstGeom>
          <a:solidFill>
            <a:srgbClr val="1E7FB3"/>
          </a:solidFill>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3BC8B019-5736-44D0-A4D5-DE67FCFBBCCB}"/>
              </a:ext>
            </a:extLst>
          </p:cNvPr>
          <p:cNvSpPr/>
          <p:nvPr/>
        </p:nvSpPr>
        <p:spPr>
          <a:xfrm rot="19813151" flipH="1" flipV="1">
            <a:off x="10772679" y="438038"/>
            <a:ext cx="309196" cy="3091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4B723723-8BF6-4589-8C03-88B76E426A33}"/>
              </a:ext>
            </a:extLst>
          </p:cNvPr>
          <p:cNvSpPr/>
          <p:nvPr/>
        </p:nvSpPr>
        <p:spPr>
          <a:xfrm rot="19813151" flipH="1" flipV="1">
            <a:off x="10435901" y="483349"/>
            <a:ext cx="278276" cy="27827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Oval 30">
            <a:extLst>
              <a:ext uri="{FF2B5EF4-FFF2-40B4-BE49-F238E27FC236}">
                <a16:creationId xmlns:a16="http://schemas.microsoft.com/office/drawing/2014/main" id="{66DAC10C-FB8F-4BAE-A26E-0293654217B6}"/>
              </a:ext>
            </a:extLst>
          </p:cNvPr>
          <p:cNvSpPr/>
          <p:nvPr/>
        </p:nvSpPr>
        <p:spPr>
          <a:xfrm rot="19813151" flipH="1" flipV="1">
            <a:off x="10135798" y="530495"/>
            <a:ext cx="247357" cy="24735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Oval 31">
            <a:extLst>
              <a:ext uri="{FF2B5EF4-FFF2-40B4-BE49-F238E27FC236}">
                <a16:creationId xmlns:a16="http://schemas.microsoft.com/office/drawing/2014/main" id="{FD093E29-171A-48B7-ABED-2EDA03D3A418}"/>
              </a:ext>
            </a:extLst>
          </p:cNvPr>
          <p:cNvSpPr/>
          <p:nvPr/>
        </p:nvSpPr>
        <p:spPr>
          <a:xfrm rot="19813151" flipH="1" flipV="1">
            <a:off x="9858654" y="600128"/>
            <a:ext cx="216437" cy="21643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D14829D3-3E98-4B66-B552-DCDA098A252D}"/>
              </a:ext>
            </a:extLst>
          </p:cNvPr>
          <p:cNvSpPr/>
          <p:nvPr/>
        </p:nvSpPr>
        <p:spPr>
          <a:xfrm rot="19813151" flipH="1" flipV="1">
            <a:off x="9596715" y="683883"/>
            <a:ext cx="185518" cy="1855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Oval 33">
            <a:extLst>
              <a:ext uri="{FF2B5EF4-FFF2-40B4-BE49-F238E27FC236}">
                <a16:creationId xmlns:a16="http://schemas.microsoft.com/office/drawing/2014/main" id="{52F9AFF6-C0A5-4292-BE48-655AD2A2EB60}"/>
              </a:ext>
            </a:extLst>
          </p:cNvPr>
          <p:cNvSpPr/>
          <p:nvPr/>
        </p:nvSpPr>
        <p:spPr>
          <a:xfrm rot="19813151" flipH="1" flipV="1">
            <a:off x="10108031" y="1554274"/>
            <a:ext cx="123678" cy="1236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Oval 34">
            <a:extLst>
              <a:ext uri="{FF2B5EF4-FFF2-40B4-BE49-F238E27FC236}">
                <a16:creationId xmlns:a16="http://schemas.microsoft.com/office/drawing/2014/main" id="{BE5B2FF6-167C-4B32-864F-BF3B7531A114}"/>
              </a:ext>
            </a:extLst>
          </p:cNvPr>
          <p:cNvSpPr/>
          <p:nvPr/>
        </p:nvSpPr>
        <p:spPr>
          <a:xfrm rot="19813151" flipH="1" flipV="1">
            <a:off x="10317989" y="1356570"/>
            <a:ext cx="92759" cy="927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Oval 35">
            <a:extLst>
              <a:ext uri="{FF2B5EF4-FFF2-40B4-BE49-F238E27FC236}">
                <a16:creationId xmlns:a16="http://schemas.microsoft.com/office/drawing/2014/main" id="{707BC2B0-EBC2-4612-AC0D-E089011B157A}"/>
              </a:ext>
            </a:extLst>
          </p:cNvPr>
          <p:cNvSpPr/>
          <p:nvPr/>
        </p:nvSpPr>
        <p:spPr>
          <a:xfrm rot="19813151" flipH="1" flipV="1">
            <a:off x="10509310" y="1113855"/>
            <a:ext cx="61839" cy="618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Oval 36">
            <a:extLst>
              <a:ext uri="{FF2B5EF4-FFF2-40B4-BE49-F238E27FC236}">
                <a16:creationId xmlns:a16="http://schemas.microsoft.com/office/drawing/2014/main" id="{FB8C1F20-F88C-4635-BB4B-92F8D7116475}"/>
              </a:ext>
            </a:extLst>
          </p:cNvPr>
          <p:cNvSpPr/>
          <p:nvPr/>
        </p:nvSpPr>
        <p:spPr>
          <a:xfrm rot="19813151" flipH="1" flipV="1">
            <a:off x="10685692" y="838957"/>
            <a:ext cx="61839" cy="618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8" name="Straight Connector 37">
            <a:extLst>
              <a:ext uri="{FF2B5EF4-FFF2-40B4-BE49-F238E27FC236}">
                <a16:creationId xmlns:a16="http://schemas.microsoft.com/office/drawing/2014/main" id="{D0B6A8E6-1781-4B33-943C-78B4B9C05EDC}"/>
              </a:ext>
            </a:extLst>
          </p:cNvPr>
          <p:cNvCxnSpPr>
            <a:stCxn id="30" idx="0"/>
            <a:endCxn id="37" idx="4"/>
          </p:cNvCxnSpPr>
          <p:nvPr/>
        </p:nvCxnSpPr>
        <p:spPr>
          <a:xfrm rot="19813151">
            <a:off x="10672700" y="735657"/>
            <a:ext cx="1" cy="114976"/>
          </a:xfrm>
          <a:prstGeom prst="line">
            <a:avLst/>
          </a:prstGeom>
          <a:solidFill>
            <a:srgbClr val="1E7FB3"/>
          </a:solidFill>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8BFD355-3EA6-402E-A73B-E5B5BFE4B2A5}"/>
              </a:ext>
            </a:extLst>
          </p:cNvPr>
          <p:cNvCxnSpPr>
            <a:cxnSpLocks/>
            <a:stCxn id="31" idx="0"/>
          </p:cNvCxnSpPr>
          <p:nvPr/>
        </p:nvCxnSpPr>
        <p:spPr>
          <a:xfrm rot="19813151">
            <a:off x="10432728" y="731783"/>
            <a:ext cx="1" cy="450277"/>
          </a:xfrm>
          <a:prstGeom prst="line">
            <a:avLst/>
          </a:prstGeom>
          <a:solidFill>
            <a:srgbClr val="1E7FB3"/>
          </a:solidFill>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33A1B07-9958-40A0-832A-7296DBC0E153}"/>
              </a:ext>
            </a:extLst>
          </p:cNvPr>
          <p:cNvCxnSpPr>
            <a:cxnSpLocks/>
            <a:stCxn id="32" idx="0"/>
            <a:endCxn id="35" idx="4"/>
          </p:cNvCxnSpPr>
          <p:nvPr/>
        </p:nvCxnSpPr>
        <p:spPr>
          <a:xfrm rot="19813151">
            <a:off x="10180977" y="759634"/>
            <a:ext cx="0" cy="645700"/>
          </a:xfrm>
          <a:prstGeom prst="line">
            <a:avLst/>
          </a:prstGeom>
          <a:solidFill>
            <a:srgbClr val="1E7FB3"/>
          </a:solidFill>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340D435-9976-4416-9E27-4B6A3B3F1B83}"/>
              </a:ext>
            </a:extLst>
          </p:cNvPr>
          <p:cNvCxnSpPr>
            <a:cxnSpLocks/>
            <a:stCxn id="33" idx="0"/>
            <a:endCxn id="34" idx="4"/>
          </p:cNvCxnSpPr>
          <p:nvPr/>
        </p:nvCxnSpPr>
        <p:spPr>
          <a:xfrm rot="19813151">
            <a:off x="9937350" y="803491"/>
            <a:ext cx="0" cy="812610"/>
          </a:xfrm>
          <a:prstGeom prst="line">
            <a:avLst/>
          </a:prstGeom>
          <a:solidFill>
            <a:srgbClr val="1E7FB3"/>
          </a:solidFill>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50462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819A166-7571-4003-A6B8-B62034C3ED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509320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427393A9-1F16-417A-94D9-F54E55CEDF94}"/>
              </a:ext>
            </a:extLst>
          </p:cNvPr>
          <p:cNvSpPr>
            <a:spLocks noGrp="1"/>
          </p:cNvSpPr>
          <p:nvPr>
            <p:ph type="title"/>
          </p:nvPr>
        </p:nvSpPr>
        <p:spPr>
          <a:xfrm>
            <a:off x="524741" y="620392"/>
            <a:ext cx="3808268" cy="5504688"/>
          </a:xfrm>
        </p:spPr>
        <p:txBody>
          <a:bodyPr>
            <a:normAutofit/>
          </a:bodyPr>
          <a:lstStyle/>
          <a:p>
            <a:r>
              <a:rPr lang="en-US" sz="6000">
                <a:solidFill>
                  <a:schemeClr val="bg1"/>
                </a:solidFill>
              </a:rPr>
              <a:t>Agenda</a:t>
            </a:r>
            <a:endParaRPr lang="en-IN" sz="6000">
              <a:solidFill>
                <a:schemeClr val="bg1"/>
              </a:solidFill>
            </a:endParaRPr>
          </a:p>
        </p:txBody>
      </p:sp>
      <p:graphicFrame>
        <p:nvGraphicFramePr>
          <p:cNvPr id="5" name="Content Placeholder 2">
            <a:extLst>
              <a:ext uri="{FF2B5EF4-FFF2-40B4-BE49-F238E27FC236}">
                <a16:creationId xmlns:a16="http://schemas.microsoft.com/office/drawing/2014/main" id="{3CA71144-A4D2-4FAD-BCF2-DD8E84041E01}"/>
              </a:ext>
            </a:extLst>
          </p:cNvPr>
          <p:cNvGraphicFramePr>
            <a:graphicFrameLocks noGrp="1"/>
          </p:cNvGraphicFramePr>
          <p:nvPr>
            <p:ph idx="1"/>
            <p:extLst>
              <p:ext uri="{D42A27DB-BD31-4B8C-83A1-F6EECF244321}">
                <p14:modId xmlns:p14="http://schemas.microsoft.com/office/powerpoint/2010/main" val="3752734838"/>
              </p:ext>
            </p:extLst>
          </p:nvPr>
        </p:nvGraphicFramePr>
        <p:xfrm>
          <a:off x="5468389" y="620392"/>
          <a:ext cx="6263640" cy="55046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84424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10">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12">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14">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16">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Freeform: Shape 18">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 name="Title 2">
            <a:extLst>
              <a:ext uri="{FF2B5EF4-FFF2-40B4-BE49-F238E27FC236}">
                <a16:creationId xmlns:a16="http://schemas.microsoft.com/office/drawing/2014/main" id="{FF51F41A-CB03-48A7-9615-27E49511E2FE}"/>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kern="1200">
                <a:solidFill>
                  <a:srgbClr val="FFFFFF"/>
                </a:solidFill>
                <a:latin typeface="+mj-lt"/>
                <a:ea typeface="+mj-ea"/>
                <a:cs typeface="+mj-cs"/>
              </a:rPr>
              <a:t>Documents involved in SDLC</a:t>
            </a:r>
          </a:p>
        </p:txBody>
      </p:sp>
      <p:graphicFrame>
        <p:nvGraphicFramePr>
          <p:cNvPr id="6" name="Table 5">
            <a:extLst>
              <a:ext uri="{FF2B5EF4-FFF2-40B4-BE49-F238E27FC236}">
                <a16:creationId xmlns:a16="http://schemas.microsoft.com/office/drawing/2014/main" id="{43232E60-ACCA-4B55-BEF2-2B484D317266}"/>
              </a:ext>
            </a:extLst>
          </p:cNvPr>
          <p:cNvGraphicFramePr>
            <a:graphicFrameLocks noGrp="1"/>
          </p:cNvGraphicFramePr>
          <p:nvPr>
            <p:extLst>
              <p:ext uri="{D42A27DB-BD31-4B8C-83A1-F6EECF244321}">
                <p14:modId xmlns:p14="http://schemas.microsoft.com/office/powerpoint/2010/main" val="3829419635"/>
              </p:ext>
            </p:extLst>
          </p:nvPr>
        </p:nvGraphicFramePr>
        <p:xfrm>
          <a:off x="4502428" y="983915"/>
          <a:ext cx="7225749" cy="5073653"/>
        </p:xfrm>
        <a:graphic>
          <a:graphicData uri="http://schemas.openxmlformats.org/drawingml/2006/table">
            <a:tbl>
              <a:tblPr firstRow="1" firstCol="1" bandRow="1">
                <a:tableStyleId>{5C22544A-7EE6-4342-B048-85BDC9FD1C3A}</a:tableStyleId>
              </a:tblPr>
              <a:tblGrid>
                <a:gridCol w="417806">
                  <a:extLst>
                    <a:ext uri="{9D8B030D-6E8A-4147-A177-3AD203B41FA5}">
                      <a16:colId xmlns:a16="http://schemas.microsoft.com/office/drawing/2014/main" val="153635852"/>
                    </a:ext>
                  </a:extLst>
                </a:gridCol>
                <a:gridCol w="1852143">
                  <a:extLst>
                    <a:ext uri="{9D8B030D-6E8A-4147-A177-3AD203B41FA5}">
                      <a16:colId xmlns:a16="http://schemas.microsoft.com/office/drawing/2014/main" val="4206333333"/>
                    </a:ext>
                  </a:extLst>
                </a:gridCol>
                <a:gridCol w="4955800">
                  <a:extLst>
                    <a:ext uri="{9D8B030D-6E8A-4147-A177-3AD203B41FA5}">
                      <a16:colId xmlns:a16="http://schemas.microsoft.com/office/drawing/2014/main" val="4005325675"/>
                    </a:ext>
                  </a:extLst>
                </a:gridCol>
              </a:tblGrid>
              <a:tr h="243241">
                <a:tc>
                  <a:txBody>
                    <a:bodyPr/>
                    <a:lstStyle/>
                    <a:p>
                      <a:pPr>
                        <a:lnSpc>
                          <a:spcPct val="107000"/>
                        </a:lnSpc>
                        <a:spcAft>
                          <a:spcPts val="800"/>
                        </a:spcAft>
                      </a:pPr>
                      <a:r>
                        <a:rPr lang="en-US" sz="1400">
                          <a:effectLst/>
                        </a:rPr>
                        <a:t>Sr</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nSpc>
                          <a:spcPct val="107000"/>
                        </a:lnSpc>
                        <a:spcAft>
                          <a:spcPts val="800"/>
                        </a:spcAft>
                      </a:pPr>
                      <a:r>
                        <a:rPr lang="en-US" sz="1400">
                          <a:effectLst/>
                        </a:rPr>
                        <a:t>Document Name</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nSpc>
                          <a:spcPct val="107000"/>
                        </a:lnSpc>
                        <a:spcAft>
                          <a:spcPts val="800"/>
                        </a:spcAft>
                      </a:pPr>
                      <a:r>
                        <a:rPr lang="en-US" sz="1400">
                          <a:effectLst/>
                        </a:rPr>
                        <a:t>Description</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4085205673"/>
                  </a:ext>
                </a:extLst>
              </a:tr>
              <a:tr h="466486">
                <a:tc>
                  <a:txBody>
                    <a:bodyPr/>
                    <a:lstStyle/>
                    <a:p>
                      <a:r>
                        <a:rPr lang="en-US" sz="1400">
                          <a:effectLst/>
                        </a:rPr>
                        <a:t>1</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lnSpc>
                          <a:spcPct val="107000"/>
                        </a:lnSpc>
                        <a:spcAft>
                          <a:spcPts val="800"/>
                        </a:spcAft>
                      </a:pPr>
                      <a:r>
                        <a:rPr lang="en-US" sz="1400">
                          <a:effectLst/>
                        </a:rPr>
                        <a:t>Project Timeline and Milestones</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r>
                        <a:rPr lang="en-US" sz="1400">
                          <a:effectLst/>
                        </a:rPr>
                        <a:t>This document will highlight the timelines and milestone at each stage of the project.</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3759428454"/>
                  </a:ext>
                </a:extLst>
              </a:tr>
              <a:tr h="243241">
                <a:tc>
                  <a:txBody>
                    <a:bodyPr/>
                    <a:lstStyle/>
                    <a:p>
                      <a:r>
                        <a:rPr lang="en-US" sz="1400">
                          <a:effectLst/>
                        </a:rPr>
                        <a:t>2</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lnSpc>
                          <a:spcPct val="107000"/>
                        </a:lnSpc>
                        <a:spcAft>
                          <a:spcPts val="800"/>
                        </a:spcAft>
                      </a:pPr>
                      <a:r>
                        <a:rPr lang="en-US" sz="1400">
                          <a:effectLst/>
                        </a:rPr>
                        <a:t>Project Schedule</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r>
                        <a:rPr lang="en-US" sz="1400">
                          <a:effectLst/>
                        </a:rPr>
                        <a:t>This document will contain the project schedule to be executed</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1861021528"/>
                  </a:ext>
                </a:extLst>
              </a:tr>
              <a:tr h="243241">
                <a:tc>
                  <a:txBody>
                    <a:bodyPr/>
                    <a:lstStyle/>
                    <a:p>
                      <a:r>
                        <a:rPr lang="en-US" sz="1400">
                          <a:effectLst/>
                        </a:rPr>
                        <a:t>3</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lnSpc>
                          <a:spcPct val="107000"/>
                        </a:lnSpc>
                        <a:spcAft>
                          <a:spcPts val="800"/>
                        </a:spcAft>
                      </a:pPr>
                      <a:r>
                        <a:rPr lang="en-US" sz="1400">
                          <a:effectLst/>
                        </a:rPr>
                        <a:t>Project Charter</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r>
                        <a:rPr lang="en-US" sz="1400" dirty="0">
                          <a:effectLst/>
                        </a:rPr>
                        <a:t>This document will contain the details of the project goals and objective</a:t>
                      </a:r>
                      <a:endParaRPr lang="en-IN"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2607068608"/>
                  </a:ext>
                </a:extLst>
              </a:tr>
              <a:tr h="448557">
                <a:tc>
                  <a:txBody>
                    <a:bodyPr/>
                    <a:lstStyle/>
                    <a:p>
                      <a:r>
                        <a:rPr lang="en-US" sz="1400">
                          <a:effectLst/>
                        </a:rPr>
                        <a:t>4</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lnSpc>
                          <a:spcPct val="107000"/>
                        </a:lnSpc>
                        <a:spcAft>
                          <a:spcPts val="800"/>
                        </a:spcAft>
                      </a:pPr>
                      <a:r>
                        <a:rPr lang="en-US" sz="1400">
                          <a:effectLst/>
                        </a:rPr>
                        <a:t>Project Assumptions</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r>
                        <a:rPr lang="en-US" sz="1400">
                          <a:effectLst/>
                        </a:rPr>
                        <a:t>This document will lay down all the project related assumptions</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3627158646"/>
                  </a:ext>
                </a:extLst>
              </a:tr>
              <a:tr h="466486">
                <a:tc>
                  <a:txBody>
                    <a:bodyPr/>
                    <a:lstStyle/>
                    <a:p>
                      <a:r>
                        <a:rPr lang="en-US" sz="1400">
                          <a:effectLst/>
                        </a:rPr>
                        <a:t>5</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lnSpc>
                          <a:spcPct val="107000"/>
                        </a:lnSpc>
                        <a:spcAft>
                          <a:spcPts val="800"/>
                        </a:spcAft>
                      </a:pPr>
                      <a:r>
                        <a:rPr lang="en-US" sz="1400">
                          <a:effectLst/>
                        </a:rPr>
                        <a:t>Deliverable Approval Matrix</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r>
                        <a:rPr lang="en-US" sz="1400">
                          <a:effectLst/>
                        </a:rPr>
                        <a:t>This document will contain the matric for delivery approval</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645018433"/>
                  </a:ext>
                </a:extLst>
              </a:tr>
              <a:tr h="466486">
                <a:tc>
                  <a:txBody>
                    <a:bodyPr/>
                    <a:lstStyle/>
                    <a:p>
                      <a:r>
                        <a:rPr lang="en-US" sz="1400">
                          <a:effectLst/>
                        </a:rPr>
                        <a:t>6</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lnSpc>
                          <a:spcPct val="107000"/>
                        </a:lnSpc>
                        <a:spcAft>
                          <a:spcPts val="800"/>
                        </a:spcAft>
                      </a:pPr>
                      <a:r>
                        <a:rPr lang="en-US" sz="1400">
                          <a:effectLst/>
                        </a:rPr>
                        <a:t>Milestone Acceptance Certificate</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r>
                        <a:rPr lang="en-US" sz="1400" dirty="0">
                          <a:effectLst/>
                        </a:rPr>
                        <a:t>This certificate will be shared to the client when each milestone is completed for their acceptance.</a:t>
                      </a:r>
                      <a:endParaRPr lang="en-IN"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3922185095"/>
                  </a:ext>
                </a:extLst>
              </a:tr>
              <a:tr h="912978">
                <a:tc>
                  <a:txBody>
                    <a:bodyPr/>
                    <a:lstStyle/>
                    <a:p>
                      <a:r>
                        <a:rPr lang="en-US" sz="1400">
                          <a:effectLst/>
                        </a:rPr>
                        <a:t>7</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lnSpc>
                          <a:spcPct val="107000"/>
                        </a:lnSpc>
                        <a:spcAft>
                          <a:spcPts val="800"/>
                        </a:spcAft>
                      </a:pPr>
                      <a:r>
                        <a:rPr lang="en-US" sz="1400" dirty="0">
                          <a:effectLst/>
                        </a:rPr>
                        <a:t>Change Management Assessment Deliverable and Communication Plan</a:t>
                      </a:r>
                      <a:endParaRPr lang="en-IN"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r>
                        <a:rPr lang="en-US" sz="1400" dirty="0">
                          <a:effectLst/>
                        </a:rPr>
                        <a:t>This document will contain all the details for completed the change management assessment and how will the change be communicated to the Client’s users.</a:t>
                      </a:r>
                      <a:endParaRPr lang="en-IN"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3133635267"/>
                  </a:ext>
                </a:extLst>
              </a:tr>
              <a:tr h="466486">
                <a:tc>
                  <a:txBody>
                    <a:bodyPr/>
                    <a:lstStyle/>
                    <a:p>
                      <a:r>
                        <a:rPr lang="en-US" sz="1400">
                          <a:effectLst/>
                        </a:rPr>
                        <a:t>8</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lnSpc>
                          <a:spcPct val="107000"/>
                        </a:lnSpc>
                        <a:spcAft>
                          <a:spcPts val="800"/>
                        </a:spcAft>
                      </a:pPr>
                      <a:r>
                        <a:rPr lang="en-US" sz="1400">
                          <a:effectLst/>
                        </a:rPr>
                        <a:t>Configuration Requirements</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r>
                        <a:rPr lang="en-US" sz="1400">
                          <a:effectLst/>
                        </a:rPr>
                        <a:t>This document will contain all the requirements related to each configuration.</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1736384808"/>
                  </a:ext>
                </a:extLst>
              </a:tr>
              <a:tr h="466486">
                <a:tc>
                  <a:txBody>
                    <a:bodyPr/>
                    <a:lstStyle/>
                    <a:p>
                      <a:r>
                        <a:rPr lang="en-US" sz="1400">
                          <a:effectLst/>
                        </a:rPr>
                        <a:t>9</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lnSpc>
                          <a:spcPct val="107000"/>
                        </a:lnSpc>
                        <a:spcAft>
                          <a:spcPts val="800"/>
                        </a:spcAft>
                      </a:pPr>
                      <a:r>
                        <a:rPr lang="en-US" sz="1400">
                          <a:effectLst/>
                        </a:rPr>
                        <a:t>Conversion Strategy Plan</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r>
                        <a:rPr lang="en-US" sz="1400">
                          <a:effectLst/>
                        </a:rPr>
                        <a:t>This document will contain a strategy to undertake the data conversion smoothly.</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576971478"/>
                  </a:ext>
                </a:extLst>
              </a:tr>
              <a:tr h="466486">
                <a:tc>
                  <a:txBody>
                    <a:bodyPr/>
                    <a:lstStyle/>
                    <a:p>
                      <a:r>
                        <a:rPr lang="en-US" sz="1400" dirty="0">
                          <a:effectLst/>
                        </a:rPr>
                        <a:t>10</a:t>
                      </a:r>
                      <a:endParaRPr lang="en-IN"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lnSpc>
                          <a:spcPct val="107000"/>
                        </a:lnSpc>
                        <a:spcAft>
                          <a:spcPts val="800"/>
                        </a:spcAft>
                      </a:pPr>
                      <a:r>
                        <a:rPr lang="en-US" sz="1400">
                          <a:effectLst/>
                        </a:rPr>
                        <a:t>Integration Strategy Plan</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r>
                        <a:rPr lang="en-US" sz="1400" dirty="0">
                          <a:effectLst/>
                        </a:rPr>
                        <a:t>This document will contain the strategy to integrate various third-party tools and applications</a:t>
                      </a:r>
                      <a:endParaRPr lang="en-IN"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826290767"/>
                  </a:ext>
                </a:extLst>
              </a:tr>
            </a:tbl>
          </a:graphicData>
        </a:graphic>
      </p:graphicFrame>
    </p:spTree>
    <p:extLst>
      <p:ext uri="{BB962C8B-B14F-4D97-AF65-F5344CB8AC3E}">
        <p14:creationId xmlns:p14="http://schemas.microsoft.com/office/powerpoint/2010/main" val="41418943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10">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12">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14">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16">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Freeform: Shape 18">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 name="Title 2">
            <a:extLst>
              <a:ext uri="{FF2B5EF4-FFF2-40B4-BE49-F238E27FC236}">
                <a16:creationId xmlns:a16="http://schemas.microsoft.com/office/drawing/2014/main" id="{FF51F41A-CB03-48A7-9615-27E49511E2FE}"/>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kern="1200">
                <a:solidFill>
                  <a:srgbClr val="FFFFFF"/>
                </a:solidFill>
                <a:latin typeface="+mj-lt"/>
                <a:ea typeface="+mj-ea"/>
                <a:cs typeface="+mj-cs"/>
              </a:rPr>
              <a:t>Documents involved in SDLC</a:t>
            </a:r>
          </a:p>
        </p:txBody>
      </p:sp>
      <p:graphicFrame>
        <p:nvGraphicFramePr>
          <p:cNvPr id="6" name="Table 5">
            <a:extLst>
              <a:ext uri="{FF2B5EF4-FFF2-40B4-BE49-F238E27FC236}">
                <a16:creationId xmlns:a16="http://schemas.microsoft.com/office/drawing/2014/main" id="{43232E60-ACCA-4B55-BEF2-2B484D317266}"/>
              </a:ext>
            </a:extLst>
          </p:cNvPr>
          <p:cNvGraphicFramePr>
            <a:graphicFrameLocks noGrp="1"/>
          </p:cNvGraphicFramePr>
          <p:nvPr>
            <p:extLst>
              <p:ext uri="{D42A27DB-BD31-4B8C-83A1-F6EECF244321}">
                <p14:modId xmlns:p14="http://schemas.microsoft.com/office/powerpoint/2010/main" val="3413966891"/>
              </p:ext>
            </p:extLst>
          </p:nvPr>
        </p:nvGraphicFramePr>
        <p:xfrm>
          <a:off x="4435287" y="646564"/>
          <a:ext cx="7225749" cy="5733177"/>
        </p:xfrm>
        <a:graphic>
          <a:graphicData uri="http://schemas.openxmlformats.org/drawingml/2006/table">
            <a:tbl>
              <a:tblPr firstRow="1" firstCol="1" bandRow="1">
                <a:tableStyleId>{5C22544A-7EE6-4342-B048-85BDC9FD1C3A}</a:tableStyleId>
              </a:tblPr>
              <a:tblGrid>
                <a:gridCol w="417806">
                  <a:extLst>
                    <a:ext uri="{9D8B030D-6E8A-4147-A177-3AD203B41FA5}">
                      <a16:colId xmlns:a16="http://schemas.microsoft.com/office/drawing/2014/main" val="153635852"/>
                    </a:ext>
                  </a:extLst>
                </a:gridCol>
                <a:gridCol w="1852143">
                  <a:extLst>
                    <a:ext uri="{9D8B030D-6E8A-4147-A177-3AD203B41FA5}">
                      <a16:colId xmlns:a16="http://schemas.microsoft.com/office/drawing/2014/main" val="4206333333"/>
                    </a:ext>
                  </a:extLst>
                </a:gridCol>
                <a:gridCol w="4955800">
                  <a:extLst>
                    <a:ext uri="{9D8B030D-6E8A-4147-A177-3AD203B41FA5}">
                      <a16:colId xmlns:a16="http://schemas.microsoft.com/office/drawing/2014/main" val="4005325675"/>
                    </a:ext>
                  </a:extLst>
                </a:gridCol>
              </a:tblGrid>
              <a:tr h="243241">
                <a:tc>
                  <a:txBody>
                    <a:bodyPr/>
                    <a:lstStyle/>
                    <a:p>
                      <a:pPr>
                        <a:lnSpc>
                          <a:spcPct val="107000"/>
                        </a:lnSpc>
                        <a:spcAft>
                          <a:spcPts val="800"/>
                        </a:spcAft>
                      </a:pPr>
                      <a:r>
                        <a:rPr lang="en-US" sz="1400">
                          <a:effectLst/>
                        </a:rPr>
                        <a:t>Sr</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nSpc>
                          <a:spcPct val="107000"/>
                        </a:lnSpc>
                        <a:spcAft>
                          <a:spcPts val="800"/>
                        </a:spcAft>
                      </a:pPr>
                      <a:r>
                        <a:rPr lang="en-US" sz="1400">
                          <a:effectLst/>
                        </a:rPr>
                        <a:t>Document Name</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nSpc>
                          <a:spcPct val="107000"/>
                        </a:lnSpc>
                        <a:spcAft>
                          <a:spcPts val="800"/>
                        </a:spcAft>
                      </a:pPr>
                      <a:r>
                        <a:rPr lang="en-US" sz="1400">
                          <a:effectLst/>
                        </a:rPr>
                        <a:t>Description</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4085205673"/>
                  </a:ext>
                </a:extLst>
              </a:tr>
              <a:tr h="466486">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11</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400" kern="1200">
                          <a:solidFill>
                            <a:schemeClr val="dk1"/>
                          </a:solidFill>
                          <a:effectLst/>
                          <a:latin typeface="+mn-lt"/>
                          <a:ea typeface="+mn-ea"/>
                          <a:cs typeface="+mn-cs"/>
                        </a:rPr>
                        <a:t>Operations Manual</a:t>
                      </a:r>
                      <a:endParaRPr lang="en-IN" sz="1400" kern="1200">
                        <a:solidFill>
                          <a:schemeClr val="dk1"/>
                        </a:solidFill>
                        <a:effectLst/>
                        <a:latin typeface="+mn-lt"/>
                        <a:ea typeface="+mn-ea"/>
                        <a:cs typeface="+mn-cs"/>
                      </a:endParaRPr>
                    </a:p>
                  </a:txBody>
                  <a:tcPr marL="68580" marR="68580" marT="0" marB="0"/>
                </a:tc>
                <a:tc>
                  <a:txBody>
                    <a:bodyPr/>
                    <a:lstStyle/>
                    <a:p>
                      <a:pPr algn="just"/>
                      <a:r>
                        <a:rPr lang="en-US" sz="1400" kern="1200">
                          <a:solidFill>
                            <a:schemeClr val="dk1"/>
                          </a:solidFill>
                          <a:effectLst/>
                          <a:latin typeface="+mn-lt"/>
                          <a:ea typeface="+mn-ea"/>
                          <a:cs typeface="+mn-cs"/>
                        </a:rPr>
                        <a:t>This document will contain the details of how to operate the entire system step by step.</a:t>
                      </a:r>
                      <a:endParaRPr lang="en-IN" sz="1400" kern="120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3759428454"/>
                  </a:ext>
                </a:extLst>
              </a:tr>
              <a:tr h="243241">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12</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400" kern="1200">
                          <a:solidFill>
                            <a:schemeClr val="dk1"/>
                          </a:solidFill>
                          <a:effectLst/>
                          <a:latin typeface="+mn-lt"/>
                          <a:ea typeface="+mn-ea"/>
                          <a:cs typeface="+mn-cs"/>
                        </a:rPr>
                        <a:t>Integration Strategy Plan and Interface Design Scope</a:t>
                      </a:r>
                      <a:endParaRPr lang="en-IN" sz="1400" kern="1200">
                        <a:solidFill>
                          <a:schemeClr val="dk1"/>
                        </a:solidFill>
                        <a:effectLst/>
                        <a:latin typeface="+mn-lt"/>
                        <a:ea typeface="+mn-ea"/>
                        <a:cs typeface="+mn-cs"/>
                      </a:endParaRPr>
                    </a:p>
                  </a:txBody>
                  <a:tcPr marL="68580" marR="68580" marT="0" marB="0"/>
                </a:tc>
                <a:tc>
                  <a:txBody>
                    <a:bodyPr/>
                    <a:lstStyle/>
                    <a:p>
                      <a:pPr algn="just"/>
                      <a:r>
                        <a:rPr lang="en-US" sz="1400" kern="1200">
                          <a:solidFill>
                            <a:schemeClr val="dk1"/>
                          </a:solidFill>
                          <a:effectLst/>
                          <a:latin typeface="+mn-lt"/>
                          <a:ea typeface="+mn-ea"/>
                          <a:cs typeface="+mn-cs"/>
                        </a:rPr>
                        <a:t>This document will contain the design scope for interfaces developed and how to integrate them</a:t>
                      </a:r>
                      <a:endParaRPr lang="en-IN" sz="1400" kern="120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1861021528"/>
                  </a:ext>
                </a:extLst>
              </a:tr>
              <a:tr h="243241">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13</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400" kern="1200">
                          <a:solidFill>
                            <a:schemeClr val="dk1"/>
                          </a:solidFill>
                          <a:effectLst/>
                          <a:latin typeface="+mn-lt"/>
                          <a:ea typeface="+mn-ea"/>
                          <a:cs typeface="+mn-cs"/>
                        </a:rPr>
                        <a:t>Reporting architecture model</a:t>
                      </a:r>
                      <a:endParaRPr lang="en-IN" sz="1400" kern="1200">
                        <a:solidFill>
                          <a:schemeClr val="dk1"/>
                        </a:solidFill>
                        <a:effectLst/>
                        <a:latin typeface="+mn-lt"/>
                        <a:ea typeface="+mn-ea"/>
                        <a:cs typeface="+mn-cs"/>
                      </a:endParaRPr>
                    </a:p>
                  </a:txBody>
                  <a:tcPr marL="68580" marR="68580" marT="0" marB="0"/>
                </a:tc>
                <a:tc>
                  <a:txBody>
                    <a:bodyPr/>
                    <a:lstStyle/>
                    <a:p>
                      <a:pPr algn="just"/>
                      <a:r>
                        <a:rPr lang="en-US" sz="1400" kern="1200">
                          <a:solidFill>
                            <a:schemeClr val="dk1"/>
                          </a:solidFill>
                          <a:effectLst/>
                          <a:latin typeface="+mn-lt"/>
                          <a:ea typeface="+mn-ea"/>
                          <a:cs typeface="+mn-cs"/>
                        </a:rPr>
                        <a:t>The document will contain details of the reporting model </a:t>
                      </a:r>
                      <a:endParaRPr lang="en-IN" sz="1400" kern="120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2607068608"/>
                  </a:ext>
                </a:extLst>
              </a:tr>
              <a:tr h="448557">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14</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400" kern="1200">
                          <a:solidFill>
                            <a:schemeClr val="dk1"/>
                          </a:solidFill>
                          <a:effectLst/>
                          <a:latin typeface="+mn-lt"/>
                          <a:ea typeface="+mn-ea"/>
                          <a:cs typeface="+mn-cs"/>
                        </a:rPr>
                        <a:t>System Security Plan</a:t>
                      </a:r>
                      <a:endParaRPr lang="en-IN" sz="1400" kern="1200">
                        <a:solidFill>
                          <a:schemeClr val="dk1"/>
                        </a:solidFill>
                        <a:effectLst/>
                        <a:latin typeface="+mn-lt"/>
                        <a:ea typeface="+mn-ea"/>
                        <a:cs typeface="+mn-cs"/>
                      </a:endParaRPr>
                    </a:p>
                  </a:txBody>
                  <a:tcPr marL="68580" marR="68580" marT="0" marB="0"/>
                </a:tc>
                <a:tc>
                  <a:txBody>
                    <a:bodyPr/>
                    <a:lstStyle/>
                    <a:p>
                      <a:pPr algn="just"/>
                      <a:r>
                        <a:rPr lang="en-US" sz="1400" kern="1200">
                          <a:solidFill>
                            <a:schemeClr val="dk1"/>
                          </a:solidFill>
                          <a:effectLst/>
                          <a:latin typeface="+mn-lt"/>
                          <a:ea typeface="+mn-ea"/>
                          <a:cs typeface="+mn-cs"/>
                        </a:rPr>
                        <a:t>This document will contain a plan for system security </a:t>
                      </a:r>
                      <a:endParaRPr lang="en-IN" sz="1400" kern="120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3627158646"/>
                  </a:ext>
                </a:extLst>
              </a:tr>
              <a:tr h="466486">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15</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400" kern="1200">
                          <a:solidFill>
                            <a:schemeClr val="dk1"/>
                          </a:solidFill>
                          <a:effectLst/>
                          <a:latin typeface="+mn-lt"/>
                          <a:ea typeface="+mn-ea"/>
                          <a:cs typeface="+mn-cs"/>
                        </a:rPr>
                        <a:t>Templates for functional and technical specification</a:t>
                      </a:r>
                      <a:endParaRPr lang="en-IN" sz="1400" kern="1200">
                        <a:solidFill>
                          <a:schemeClr val="dk1"/>
                        </a:solidFill>
                        <a:effectLst/>
                        <a:latin typeface="+mn-lt"/>
                        <a:ea typeface="+mn-ea"/>
                        <a:cs typeface="+mn-cs"/>
                      </a:endParaRPr>
                    </a:p>
                  </a:txBody>
                  <a:tcPr marL="68580" marR="68580" marT="0" marB="0"/>
                </a:tc>
                <a:tc>
                  <a:txBody>
                    <a:bodyPr/>
                    <a:lstStyle/>
                    <a:p>
                      <a:pPr algn="just"/>
                      <a:r>
                        <a:rPr lang="en-US" sz="1400" kern="1200">
                          <a:solidFill>
                            <a:schemeClr val="dk1"/>
                          </a:solidFill>
                          <a:effectLst/>
                          <a:latin typeface="+mn-lt"/>
                          <a:ea typeface="+mn-ea"/>
                          <a:cs typeface="+mn-cs"/>
                        </a:rPr>
                        <a:t>This document will contain various templates for functional and technical specification</a:t>
                      </a:r>
                      <a:endParaRPr lang="en-IN" sz="1400" kern="120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645018433"/>
                  </a:ext>
                </a:extLst>
              </a:tr>
              <a:tr h="466486">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16</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400" kern="1200">
                          <a:solidFill>
                            <a:schemeClr val="dk1"/>
                          </a:solidFill>
                          <a:effectLst/>
                          <a:latin typeface="+mn-lt"/>
                          <a:ea typeface="+mn-ea"/>
                          <a:cs typeface="+mn-cs"/>
                        </a:rPr>
                        <a:t>End User Training Plan</a:t>
                      </a:r>
                      <a:endParaRPr lang="en-IN" sz="1400" kern="1200">
                        <a:solidFill>
                          <a:schemeClr val="dk1"/>
                        </a:solidFill>
                        <a:effectLst/>
                        <a:latin typeface="+mn-lt"/>
                        <a:ea typeface="+mn-ea"/>
                        <a:cs typeface="+mn-cs"/>
                      </a:endParaRPr>
                    </a:p>
                  </a:txBody>
                  <a:tcPr marL="68580" marR="68580" marT="0" marB="0"/>
                </a:tc>
                <a:tc>
                  <a:txBody>
                    <a:bodyPr/>
                    <a:lstStyle/>
                    <a:p>
                      <a:pPr algn="just"/>
                      <a:r>
                        <a:rPr lang="en-US" sz="1400" kern="1200">
                          <a:solidFill>
                            <a:schemeClr val="dk1"/>
                          </a:solidFill>
                          <a:effectLst/>
                          <a:latin typeface="+mn-lt"/>
                          <a:ea typeface="+mn-ea"/>
                          <a:cs typeface="+mn-cs"/>
                        </a:rPr>
                        <a:t>This document will contain plan for end-user training</a:t>
                      </a:r>
                      <a:endParaRPr lang="en-IN" sz="1400" kern="120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3922185095"/>
                  </a:ext>
                </a:extLst>
              </a:tr>
              <a:tr h="912978">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17</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400" kern="1200">
                          <a:solidFill>
                            <a:schemeClr val="dk1"/>
                          </a:solidFill>
                          <a:effectLst/>
                          <a:latin typeface="+mn-lt"/>
                          <a:ea typeface="+mn-ea"/>
                          <a:cs typeface="+mn-cs"/>
                        </a:rPr>
                        <a:t>Production Support Plan</a:t>
                      </a:r>
                      <a:endParaRPr lang="en-IN" sz="1400" kern="1200">
                        <a:solidFill>
                          <a:schemeClr val="dk1"/>
                        </a:solidFill>
                        <a:effectLst/>
                        <a:latin typeface="+mn-lt"/>
                        <a:ea typeface="+mn-ea"/>
                        <a:cs typeface="+mn-cs"/>
                      </a:endParaRPr>
                    </a:p>
                  </a:txBody>
                  <a:tcPr marL="68580" marR="68580" marT="0" marB="0"/>
                </a:tc>
                <a:tc>
                  <a:txBody>
                    <a:bodyPr/>
                    <a:lstStyle/>
                    <a:p>
                      <a:pPr algn="just"/>
                      <a:r>
                        <a:rPr lang="en-US" sz="1400" kern="1200">
                          <a:solidFill>
                            <a:schemeClr val="dk1"/>
                          </a:solidFill>
                          <a:effectLst/>
                          <a:latin typeface="+mn-lt"/>
                          <a:ea typeface="+mn-ea"/>
                          <a:cs typeface="+mn-cs"/>
                        </a:rPr>
                        <a:t>This document will contain detail of how the production support will be given</a:t>
                      </a:r>
                      <a:endParaRPr lang="en-IN" sz="1400" kern="120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3133635267"/>
                  </a:ext>
                </a:extLst>
              </a:tr>
              <a:tr h="466486">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18</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400" kern="1200">
                          <a:solidFill>
                            <a:schemeClr val="dk1"/>
                          </a:solidFill>
                          <a:effectLst/>
                          <a:latin typeface="+mn-lt"/>
                          <a:ea typeface="+mn-ea"/>
                          <a:cs typeface="+mn-cs"/>
                        </a:rPr>
                        <a:t>Technical Specifications Documents</a:t>
                      </a:r>
                      <a:endParaRPr lang="en-IN" sz="1400" kern="1200">
                        <a:solidFill>
                          <a:schemeClr val="dk1"/>
                        </a:solidFill>
                        <a:effectLst/>
                        <a:latin typeface="+mn-lt"/>
                        <a:ea typeface="+mn-ea"/>
                        <a:cs typeface="+mn-cs"/>
                      </a:endParaRPr>
                    </a:p>
                  </a:txBody>
                  <a:tcPr marL="68580" marR="68580" marT="0" marB="0"/>
                </a:tc>
                <a:tc>
                  <a:txBody>
                    <a:bodyPr/>
                    <a:lstStyle/>
                    <a:p>
                      <a:pPr algn="just"/>
                      <a:r>
                        <a:rPr lang="en-US" sz="1400" kern="1200">
                          <a:solidFill>
                            <a:schemeClr val="dk1"/>
                          </a:solidFill>
                          <a:effectLst/>
                          <a:latin typeface="+mn-lt"/>
                          <a:ea typeface="+mn-ea"/>
                          <a:cs typeface="+mn-cs"/>
                        </a:rPr>
                        <a:t>These documents will contain technical specifications of all modules</a:t>
                      </a:r>
                      <a:endParaRPr lang="en-IN" sz="1400" kern="120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1736384808"/>
                  </a:ext>
                </a:extLst>
              </a:tr>
              <a:tr h="466486">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19</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400" kern="1200">
                          <a:solidFill>
                            <a:schemeClr val="dk1"/>
                          </a:solidFill>
                          <a:effectLst/>
                          <a:latin typeface="+mn-lt"/>
                          <a:ea typeface="+mn-ea"/>
                          <a:cs typeface="+mn-cs"/>
                        </a:rPr>
                        <a:t>Test Scripts</a:t>
                      </a:r>
                      <a:endParaRPr lang="en-IN" sz="1400" kern="1200">
                        <a:solidFill>
                          <a:schemeClr val="dk1"/>
                        </a:solidFill>
                        <a:effectLst/>
                        <a:latin typeface="+mn-lt"/>
                        <a:ea typeface="+mn-ea"/>
                        <a:cs typeface="+mn-cs"/>
                      </a:endParaRPr>
                    </a:p>
                  </a:txBody>
                  <a:tcPr marL="68580" marR="68580" marT="0" marB="0"/>
                </a:tc>
                <a:tc>
                  <a:txBody>
                    <a:bodyPr/>
                    <a:lstStyle/>
                    <a:p>
                      <a:pPr algn="just"/>
                      <a:r>
                        <a:rPr lang="en-US" sz="1400" kern="1200">
                          <a:solidFill>
                            <a:schemeClr val="dk1"/>
                          </a:solidFill>
                          <a:effectLst/>
                          <a:latin typeface="+mn-lt"/>
                          <a:ea typeface="+mn-ea"/>
                          <a:cs typeface="+mn-cs"/>
                        </a:rPr>
                        <a:t>This document will contain all test scripts</a:t>
                      </a:r>
                      <a:endParaRPr lang="en-IN" sz="1400" kern="120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576971478"/>
                  </a:ext>
                </a:extLst>
              </a:tr>
              <a:tr h="466486">
                <a:tc>
                  <a:txBody>
                    <a:bodyPr/>
                    <a:lstStyle/>
                    <a:p>
                      <a:r>
                        <a:rPr lang="en-US" sz="12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20</a:t>
                      </a:r>
                      <a:endParaRPr lang="en-IN" sz="12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400" kern="1200" dirty="0">
                          <a:solidFill>
                            <a:schemeClr val="dk1"/>
                          </a:solidFill>
                          <a:effectLst/>
                          <a:latin typeface="+mn-lt"/>
                          <a:ea typeface="+mn-ea"/>
                          <a:cs typeface="+mn-cs"/>
                        </a:rPr>
                        <a:t>Production Cutover plan</a:t>
                      </a:r>
                      <a:endParaRPr lang="en-IN" sz="1400" kern="1200" dirty="0">
                        <a:solidFill>
                          <a:schemeClr val="dk1"/>
                        </a:solidFill>
                        <a:effectLst/>
                        <a:latin typeface="+mn-lt"/>
                        <a:ea typeface="+mn-ea"/>
                        <a:cs typeface="+mn-cs"/>
                      </a:endParaRPr>
                    </a:p>
                  </a:txBody>
                  <a:tcPr marL="68580" marR="68580" marT="0" marB="0"/>
                </a:tc>
                <a:tc>
                  <a:txBody>
                    <a:bodyPr/>
                    <a:lstStyle/>
                    <a:p>
                      <a:pPr algn="just"/>
                      <a:r>
                        <a:rPr lang="en-US" sz="1400" kern="1200" dirty="0">
                          <a:solidFill>
                            <a:schemeClr val="dk1"/>
                          </a:solidFill>
                          <a:effectLst/>
                          <a:latin typeface="+mn-lt"/>
                          <a:ea typeface="+mn-ea"/>
                          <a:cs typeface="+mn-cs"/>
                        </a:rPr>
                        <a:t>This document will contain the plan for production cut over</a:t>
                      </a:r>
                      <a:endParaRPr lang="en-IN" sz="1400" kern="1200" dirty="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826290767"/>
                  </a:ext>
                </a:extLst>
              </a:tr>
            </a:tbl>
          </a:graphicData>
        </a:graphic>
      </p:graphicFrame>
    </p:spTree>
    <p:extLst>
      <p:ext uri="{BB962C8B-B14F-4D97-AF65-F5344CB8AC3E}">
        <p14:creationId xmlns:p14="http://schemas.microsoft.com/office/powerpoint/2010/main" val="41422374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10">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12">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14">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16">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Freeform: Shape 18">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 name="Title 2">
            <a:extLst>
              <a:ext uri="{FF2B5EF4-FFF2-40B4-BE49-F238E27FC236}">
                <a16:creationId xmlns:a16="http://schemas.microsoft.com/office/drawing/2014/main" id="{FF51F41A-CB03-48A7-9615-27E49511E2FE}"/>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kern="1200">
                <a:solidFill>
                  <a:srgbClr val="FFFFFF"/>
                </a:solidFill>
                <a:latin typeface="+mj-lt"/>
                <a:ea typeface="+mj-ea"/>
                <a:cs typeface="+mj-cs"/>
              </a:rPr>
              <a:t>Documents involved in SDLC</a:t>
            </a:r>
          </a:p>
        </p:txBody>
      </p:sp>
      <p:graphicFrame>
        <p:nvGraphicFramePr>
          <p:cNvPr id="6" name="Table 5">
            <a:extLst>
              <a:ext uri="{FF2B5EF4-FFF2-40B4-BE49-F238E27FC236}">
                <a16:creationId xmlns:a16="http://schemas.microsoft.com/office/drawing/2014/main" id="{43232E60-ACCA-4B55-BEF2-2B484D317266}"/>
              </a:ext>
            </a:extLst>
          </p:cNvPr>
          <p:cNvGraphicFramePr>
            <a:graphicFrameLocks noGrp="1"/>
          </p:cNvGraphicFramePr>
          <p:nvPr>
            <p:extLst>
              <p:ext uri="{D42A27DB-BD31-4B8C-83A1-F6EECF244321}">
                <p14:modId xmlns:p14="http://schemas.microsoft.com/office/powerpoint/2010/main" val="2539088707"/>
              </p:ext>
            </p:extLst>
          </p:nvPr>
        </p:nvGraphicFramePr>
        <p:xfrm>
          <a:off x="4435287" y="646564"/>
          <a:ext cx="7225749" cy="5696261"/>
        </p:xfrm>
        <a:graphic>
          <a:graphicData uri="http://schemas.openxmlformats.org/drawingml/2006/table">
            <a:tbl>
              <a:tblPr firstRow="1" firstCol="1" bandRow="1">
                <a:tableStyleId>{5C22544A-7EE6-4342-B048-85BDC9FD1C3A}</a:tableStyleId>
              </a:tblPr>
              <a:tblGrid>
                <a:gridCol w="417806">
                  <a:extLst>
                    <a:ext uri="{9D8B030D-6E8A-4147-A177-3AD203B41FA5}">
                      <a16:colId xmlns:a16="http://schemas.microsoft.com/office/drawing/2014/main" val="153635852"/>
                    </a:ext>
                  </a:extLst>
                </a:gridCol>
                <a:gridCol w="1852143">
                  <a:extLst>
                    <a:ext uri="{9D8B030D-6E8A-4147-A177-3AD203B41FA5}">
                      <a16:colId xmlns:a16="http://schemas.microsoft.com/office/drawing/2014/main" val="4206333333"/>
                    </a:ext>
                  </a:extLst>
                </a:gridCol>
                <a:gridCol w="4955800">
                  <a:extLst>
                    <a:ext uri="{9D8B030D-6E8A-4147-A177-3AD203B41FA5}">
                      <a16:colId xmlns:a16="http://schemas.microsoft.com/office/drawing/2014/main" val="4005325675"/>
                    </a:ext>
                  </a:extLst>
                </a:gridCol>
              </a:tblGrid>
              <a:tr h="243241">
                <a:tc>
                  <a:txBody>
                    <a:bodyPr/>
                    <a:lstStyle/>
                    <a:p>
                      <a:pPr>
                        <a:lnSpc>
                          <a:spcPct val="107000"/>
                        </a:lnSpc>
                        <a:spcAft>
                          <a:spcPts val="800"/>
                        </a:spcAft>
                      </a:pPr>
                      <a:r>
                        <a:rPr lang="en-US" sz="1400">
                          <a:effectLst/>
                        </a:rPr>
                        <a:t>Sr</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nSpc>
                          <a:spcPct val="107000"/>
                        </a:lnSpc>
                        <a:spcAft>
                          <a:spcPts val="800"/>
                        </a:spcAft>
                      </a:pPr>
                      <a:r>
                        <a:rPr lang="en-US" sz="1400" dirty="0">
                          <a:effectLst/>
                        </a:rPr>
                        <a:t>Document Name</a:t>
                      </a:r>
                      <a:endParaRPr lang="en-IN"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nSpc>
                          <a:spcPct val="107000"/>
                        </a:lnSpc>
                        <a:spcAft>
                          <a:spcPts val="800"/>
                        </a:spcAft>
                      </a:pPr>
                      <a:r>
                        <a:rPr lang="en-US" sz="1400">
                          <a:effectLst/>
                        </a:rPr>
                        <a:t>Description</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4085205673"/>
                  </a:ext>
                </a:extLst>
              </a:tr>
              <a:tr h="466486">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21</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Data Conversion Plan</a:t>
                      </a:r>
                      <a:endParaRPr lang="en-IN"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is document will contain the details for data conversion </a:t>
                      </a:r>
                      <a:endParaRPr lang="en-IN"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759428454"/>
                  </a:ext>
                </a:extLst>
              </a:tr>
              <a:tr h="243241">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22</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RTM (Requirement Traceability Matrix)</a:t>
                      </a:r>
                      <a:endParaRPr lang="en-IN"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is document will be prepared before the project starts. It will describe the scope of the software system to be developed.</a:t>
                      </a:r>
                      <a:endPar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861021528"/>
                  </a:ext>
                </a:extLst>
              </a:tr>
              <a:tr h="243241">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23</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ystem Administration Guide </a:t>
                      </a:r>
                      <a:endParaRPr lang="en-IN"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is document will contain relevant information regarding the deployment, configuration, and administration of the software system.</a:t>
                      </a:r>
                      <a:endPar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607068608"/>
                  </a:ext>
                </a:extLst>
              </a:tr>
              <a:tr h="448557">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24</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User Guide</a:t>
                      </a:r>
                      <a:endParaRPr lang="en-IN"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This document, or manual is intended to assist to the Client staff using the new ERP system.  It will help non-technical people pinpoint and solve problems without expert assistance.</a:t>
                      </a:r>
                      <a:endPar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627158646"/>
                  </a:ext>
                </a:extLst>
              </a:tr>
              <a:tr h="466486">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25</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Developers Guide</a:t>
                      </a:r>
                      <a:endParaRPr lang="en-IN"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is guide is intended to be a one-stop source for the developers for referring to the details of the developed application. This will be for the internal use of the Client as a handover if there is replacement or unavailability of certain developers.</a:t>
                      </a:r>
                      <a:endPar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645018433"/>
                  </a:ext>
                </a:extLst>
              </a:tr>
              <a:tr h="466486">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26</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echnical Guide/Manuals</a:t>
                      </a:r>
                      <a:endParaRPr lang="en-IN"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is document will help the end-user to understand the work dynamics and architecture of the new system. It will contain information on How to use, Common issues, how to troubleshoot, etc.</a:t>
                      </a:r>
                      <a:endParaRPr lang="en-IN"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922185095"/>
                  </a:ext>
                </a:extLst>
              </a:tr>
              <a:tr h="912978">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27</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Business Functionality Guide</a:t>
                      </a:r>
                      <a:endParaRPr lang="en-IN"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is document will explain the Business Functionality and features of the Software System. </a:t>
                      </a:r>
                      <a:endPar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133635267"/>
                  </a:ext>
                </a:extLst>
              </a:tr>
              <a:tr h="466486">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28</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est Plans</a:t>
                      </a:r>
                      <a:endParaRPr lang="en-IN"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is document will detail the objectives, resources, and processes for all test cases for the implementation.</a:t>
                      </a:r>
                      <a:endPar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36384808"/>
                  </a:ext>
                </a:extLst>
              </a:tr>
              <a:tr h="466486">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29</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raining Documentation </a:t>
                      </a:r>
                      <a:endParaRPr lang="en-IN"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is will contain- Reference materials, handouts, code snippets, scripts, manuals, slides, feedback forms etc. to Assist during and after the training. </a:t>
                      </a:r>
                      <a:endParaRPr lang="en-IN"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576971478"/>
                  </a:ext>
                </a:extLst>
              </a:tr>
              <a:tr h="466486">
                <a:tc>
                  <a:txBody>
                    <a:bodyPr/>
                    <a:lstStyle/>
                    <a:p>
                      <a:r>
                        <a:rPr lang="en-US" sz="12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30</a:t>
                      </a:r>
                      <a:endParaRPr lang="en-IN" sz="12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Desktop procedures</a:t>
                      </a:r>
                      <a:endParaRPr lang="en-IN"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is will be used by the system users for their daily, monthly and yearly tasks.</a:t>
                      </a:r>
                      <a:endPar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26290767"/>
                  </a:ext>
                </a:extLst>
              </a:tr>
            </a:tbl>
          </a:graphicData>
        </a:graphic>
      </p:graphicFrame>
    </p:spTree>
    <p:extLst>
      <p:ext uri="{BB962C8B-B14F-4D97-AF65-F5344CB8AC3E}">
        <p14:creationId xmlns:p14="http://schemas.microsoft.com/office/powerpoint/2010/main" val="1598439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1C4D56E-5509-46C3-85E6-C868E7752786}"/>
              </a:ext>
            </a:extLst>
          </p:cNvPr>
          <p:cNvSpPr>
            <a:spLocks noGrp="1"/>
          </p:cNvSpPr>
          <p:nvPr>
            <p:ph type="body" sz="quarter" idx="11"/>
          </p:nvPr>
        </p:nvSpPr>
        <p:spPr/>
        <p:txBody>
          <a:bodyPr/>
          <a:lstStyle/>
          <a:p>
            <a:r>
              <a:rPr lang="en-US" dirty="0"/>
              <a:t>Learning Management System – Mobile client for students – Vinit’s Team , Amit’s Team</a:t>
            </a:r>
          </a:p>
          <a:p>
            <a:r>
              <a:rPr lang="en-US" dirty="0"/>
              <a:t>Online Food Ordering System  - </a:t>
            </a:r>
            <a:r>
              <a:rPr lang="en-US" dirty="0" err="1"/>
              <a:t>Rachit’s</a:t>
            </a:r>
            <a:r>
              <a:rPr lang="en-US" dirty="0"/>
              <a:t> Team </a:t>
            </a:r>
          </a:p>
          <a:p>
            <a:r>
              <a:rPr lang="en-US" dirty="0"/>
              <a:t>Realtime Enterprise Communication App – </a:t>
            </a:r>
            <a:r>
              <a:rPr lang="en-US" dirty="0" err="1"/>
              <a:t>Alekhya’s</a:t>
            </a:r>
            <a:r>
              <a:rPr lang="en-US" dirty="0"/>
              <a:t> Team</a:t>
            </a:r>
          </a:p>
          <a:p>
            <a:r>
              <a:rPr lang="en-US" dirty="0"/>
              <a:t>Enterprise Social Media App  - Yash’s Team</a:t>
            </a:r>
          </a:p>
          <a:p>
            <a:r>
              <a:rPr lang="en-US" dirty="0"/>
              <a:t>Path Lab App – Saurav Team</a:t>
            </a:r>
          </a:p>
          <a:p>
            <a:r>
              <a:rPr lang="en-US" dirty="0"/>
              <a:t>School Admin App – </a:t>
            </a:r>
            <a:r>
              <a:rPr lang="en-US" dirty="0" err="1"/>
              <a:t>Gagan</a:t>
            </a:r>
            <a:r>
              <a:rPr lang="en-US" dirty="0"/>
              <a:t> Team</a:t>
            </a:r>
          </a:p>
          <a:p>
            <a:endParaRPr lang="en-IN" dirty="0"/>
          </a:p>
        </p:txBody>
      </p:sp>
      <p:sp>
        <p:nvSpPr>
          <p:cNvPr id="3" name="Title 2">
            <a:extLst>
              <a:ext uri="{FF2B5EF4-FFF2-40B4-BE49-F238E27FC236}">
                <a16:creationId xmlns:a16="http://schemas.microsoft.com/office/drawing/2014/main" id="{FA04515C-9722-4F1F-8A35-B29114C00D71}"/>
              </a:ext>
            </a:extLst>
          </p:cNvPr>
          <p:cNvSpPr>
            <a:spLocks noGrp="1"/>
          </p:cNvSpPr>
          <p:nvPr>
            <p:ph type="title"/>
          </p:nvPr>
        </p:nvSpPr>
        <p:spPr/>
        <p:txBody>
          <a:bodyPr/>
          <a:lstStyle/>
          <a:p>
            <a:r>
              <a:rPr lang="en-US" dirty="0"/>
              <a:t>Implementing SDLC in Real World</a:t>
            </a:r>
            <a:endParaRPr lang="en-IN" dirty="0"/>
          </a:p>
        </p:txBody>
      </p:sp>
    </p:spTree>
    <p:extLst>
      <p:ext uri="{BB962C8B-B14F-4D97-AF65-F5344CB8AC3E}">
        <p14:creationId xmlns:p14="http://schemas.microsoft.com/office/powerpoint/2010/main" val="21185774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0" name="Rectangle 29">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Video 25">
            <a:extLst>
              <a:ext uri="{FF2B5EF4-FFF2-40B4-BE49-F238E27FC236}">
                <a16:creationId xmlns:a16="http://schemas.microsoft.com/office/drawing/2014/main" id="{857A266C-56E0-4901-A6ED-3D138EA289AE}"/>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4"/>
          <a:srcRect r="1" b="285"/>
          <a:stretch/>
        </p:blipFill>
        <p:spPr>
          <a:xfrm>
            <a:off x="-3047" y="10"/>
            <a:ext cx="12191999" cy="6857990"/>
          </a:xfrm>
          <a:prstGeom prst="rect">
            <a:avLst/>
          </a:prstGeom>
        </p:spPr>
      </p:pic>
      <p:sp>
        <p:nvSpPr>
          <p:cNvPr id="32" name="Rectangle 31">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33D84E2-669D-4615-8E9A-01C6FFD68CF3}"/>
              </a:ext>
            </a:extLst>
          </p:cNvPr>
          <p:cNvSpPr>
            <a:spLocks noGrp="1"/>
          </p:cNvSpPr>
          <p:nvPr>
            <p:ph type="title"/>
          </p:nvPr>
        </p:nvSpPr>
        <p:spPr>
          <a:xfrm>
            <a:off x="1097280" y="325550"/>
            <a:ext cx="10058400" cy="3574778"/>
          </a:xfrm>
          <a:effectLst>
            <a:outerShdw blurRad="50800" dist="38100" dir="2700000" algn="tl" rotWithShape="0">
              <a:prstClr val="black">
                <a:alpha val="40000"/>
              </a:prstClr>
            </a:outerShdw>
          </a:effectLst>
        </p:spPr>
        <p:txBody>
          <a:bodyPr vert="horz" lIns="91440" tIns="45720" rIns="91440" bIns="45720" rtlCol="0" anchor="b">
            <a:normAutofit/>
          </a:bodyPr>
          <a:lstStyle/>
          <a:p>
            <a:pPr algn="ctr"/>
            <a:r>
              <a:rPr lang="en-US" sz="5200" b="1" dirty="0">
                <a:solidFill>
                  <a:srgbClr val="FFFFFF"/>
                </a:solidFill>
              </a:rPr>
              <a:t>Agile based Development</a:t>
            </a:r>
            <a:endParaRPr lang="en-US" sz="5200" dirty="0">
              <a:solidFill>
                <a:srgbClr val="FFFFFF"/>
              </a:solidFill>
            </a:endParaRPr>
          </a:p>
        </p:txBody>
      </p:sp>
      <p:sp>
        <p:nvSpPr>
          <p:cNvPr id="7" name="Text Placeholder 1">
            <a:extLst>
              <a:ext uri="{FF2B5EF4-FFF2-40B4-BE49-F238E27FC236}">
                <a16:creationId xmlns:a16="http://schemas.microsoft.com/office/drawing/2014/main" id="{58B3944B-A564-4FD4-98CD-3811FD59B8EC}"/>
              </a:ext>
            </a:extLst>
          </p:cNvPr>
          <p:cNvSpPr txBox="1">
            <a:spLocks/>
          </p:cNvSpPr>
          <p:nvPr/>
        </p:nvSpPr>
        <p:spPr>
          <a:xfrm>
            <a:off x="990600" y="1333500"/>
            <a:ext cx="10287000" cy="5086350"/>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sz="1600" dirty="0"/>
          </a:p>
        </p:txBody>
      </p:sp>
    </p:spTree>
    <p:extLst>
      <p:ext uri="{BB962C8B-B14F-4D97-AF65-F5344CB8AC3E}">
        <p14:creationId xmlns:p14="http://schemas.microsoft.com/office/powerpoint/2010/main" val="2803443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810" fill="hold"/>
                                        <p:tgtEl>
                                          <p:spTgt spid="2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6"/>
                                        </p:tgtEl>
                                      </p:cBhvr>
                                    </p:cmd>
                                  </p:childTnLst>
                                </p:cTn>
                              </p:par>
                            </p:childTnLst>
                          </p:cTn>
                        </p:par>
                      </p:childTnLst>
                    </p:cTn>
                  </p:par>
                </p:childTnLst>
              </p:cTn>
              <p:nextCondLst>
                <p:cond evt="onClick" delay="0">
                  <p:tgtEl>
                    <p:spTgt spid="26"/>
                  </p:tgtEl>
                </p:cond>
              </p:nextCondLst>
            </p:seq>
            <p:video>
              <p:cMediaNode mute="1">
                <p:cTn id="12" repeatCount="indefinite" fill="hold" display="0">
                  <p:stCondLst>
                    <p:cond delay="indefinite"/>
                  </p:stCondLst>
                </p:cTn>
                <p:tgtEl>
                  <p:spTgt spid="26"/>
                </p:tgtEl>
              </p:cMediaNode>
            </p:vide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911B0278-80F3-4517-9CCA-BE59AF2ACF76}"/>
              </a:ext>
            </a:extLst>
          </p:cNvPr>
          <p:cNvSpPr>
            <a:spLocks noGrp="1"/>
          </p:cNvSpPr>
          <p:nvPr>
            <p:ph type="title"/>
          </p:nvPr>
        </p:nvSpPr>
        <p:spPr>
          <a:xfrm>
            <a:off x="466722" y="586855"/>
            <a:ext cx="3201366" cy="3387497"/>
          </a:xfrm>
        </p:spPr>
        <p:txBody>
          <a:bodyPr vert="horz" lIns="91440" tIns="45720" rIns="91440" bIns="45720" rtlCol="0" anchor="b">
            <a:normAutofit/>
          </a:bodyPr>
          <a:lstStyle/>
          <a:p>
            <a:pPr algn="r"/>
            <a:r>
              <a:rPr lang="en-US" sz="4000" kern="1200">
                <a:solidFill>
                  <a:srgbClr val="FFFFFF"/>
                </a:solidFill>
                <a:latin typeface="+mj-lt"/>
                <a:ea typeface="+mj-ea"/>
                <a:cs typeface="+mj-cs"/>
              </a:rPr>
              <a:t>Agile Development</a:t>
            </a:r>
          </a:p>
        </p:txBody>
      </p:sp>
      <p:sp>
        <p:nvSpPr>
          <p:cNvPr id="2" name="Text Placeholder 1">
            <a:extLst>
              <a:ext uri="{FF2B5EF4-FFF2-40B4-BE49-F238E27FC236}">
                <a16:creationId xmlns:a16="http://schemas.microsoft.com/office/drawing/2014/main" id="{DE335D2A-A760-41B6-AF0D-9D1049EBDE50}"/>
              </a:ext>
            </a:extLst>
          </p:cNvPr>
          <p:cNvSpPr>
            <a:spLocks noGrp="1"/>
          </p:cNvSpPr>
          <p:nvPr>
            <p:ph type="body" sz="quarter" idx="11"/>
          </p:nvPr>
        </p:nvSpPr>
        <p:spPr>
          <a:xfrm>
            <a:off x="4810259" y="649480"/>
            <a:ext cx="6555347" cy="5546047"/>
          </a:xfrm>
        </p:spPr>
        <p:txBody>
          <a:bodyPr vert="horz" lIns="91440" tIns="45720" rIns="91440" bIns="45720" rtlCol="0" anchor="ctr">
            <a:normAutofit/>
          </a:bodyPr>
          <a:lstStyle/>
          <a:p>
            <a:pPr marL="0" indent="0">
              <a:buNone/>
            </a:pPr>
            <a:r>
              <a:rPr lang="en-US" dirty="0"/>
              <a:t>What is Agile</a:t>
            </a:r>
          </a:p>
          <a:p>
            <a:pPr marL="0"/>
            <a:r>
              <a:rPr lang="en-US" b="0" i="0" dirty="0">
                <a:effectLst/>
              </a:rPr>
              <a:t>In software development, agile practices involve discovering requirements and developing solutions through the collaborative effort of self-organizing and cross-functional teams and their customer/end user…</a:t>
            </a:r>
            <a:r>
              <a:rPr lang="en-US" dirty="0"/>
              <a:t>. </a:t>
            </a:r>
            <a:r>
              <a:rPr lang="en-US" dirty="0">
                <a:solidFill>
                  <a:schemeClr val="accent1"/>
                </a:solidFill>
              </a:rPr>
              <a:t>Wikipedia</a:t>
            </a:r>
          </a:p>
          <a:p>
            <a:pPr marL="0"/>
            <a:r>
              <a:rPr lang="en-US" b="0" i="0" dirty="0">
                <a:effectLst/>
              </a:rPr>
              <a:t>Agile is an iterative approach to project management and software development that helps teams deliver value to their customers faster and with fewer headaches. Instead of betting everything on a "big bang" launch, an agile team delivers work in small, but consumable, increments. Requirements, plans, and results are evaluated continuously so teams have a natural mechanism for responding to change quickly….</a:t>
            </a:r>
            <a:r>
              <a:rPr lang="en-US" b="0" i="0" dirty="0">
                <a:solidFill>
                  <a:schemeClr val="accent1"/>
                </a:solidFill>
                <a:effectLst/>
              </a:rPr>
              <a:t>Atlassian</a:t>
            </a:r>
            <a:endParaRPr lang="en-US" dirty="0">
              <a:solidFill>
                <a:schemeClr val="accent1"/>
              </a:solidFill>
            </a:endParaRPr>
          </a:p>
          <a:p>
            <a:pPr marL="0" indent="0">
              <a:buNone/>
            </a:pPr>
            <a:endParaRPr lang="en-US" dirty="0"/>
          </a:p>
        </p:txBody>
      </p:sp>
    </p:spTree>
    <p:extLst>
      <p:ext uri="{BB962C8B-B14F-4D97-AF65-F5344CB8AC3E}">
        <p14:creationId xmlns:p14="http://schemas.microsoft.com/office/powerpoint/2010/main" val="15243092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380"/>
        <p:cNvGrpSpPr/>
        <p:nvPr/>
      </p:nvGrpSpPr>
      <p:grpSpPr>
        <a:xfrm>
          <a:off x="0" y="0"/>
          <a:ext cx="0" cy="0"/>
          <a:chOff x="0" y="0"/>
          <a:chExt cx="0" cy="0"/>
        </a:xfrm>
      </p:grpSpPr>
      <p:sp>
        <p:nvSpPr>
          <p:cNvPr id="1381" name="Google Shape;1381;p49"/>
          <p:cNvSpPr/>
          <p:nvPr/>
        </p:nvSpPr>
        <p:spPr>
          <a:xfrm>
            <a:off x="7457017" y="2198265"/>
            <a:ext cx="2119600" cy="925600"/>
          </a:xfrm>
          <a:prstGeom prst="rect">
            <a:avLst/>
          </a:prstGeom>
          <a:noFill/>
          <a:ln>
            <a:noFill/>
          </a:ln>
        </p:spPr>
        <p:txBody>
          <a:bodyPr spcFirstLastPara="1" wrap="square" lIns="121900" tIns="121900" rIns="121900" bIns="121900" anchor="ctr" anchorCtr="0">
            <a:noAutofit/>
          </a:bodyPr>
          <a:lstStyle/>
          <a:p>
            <a:pPr algn="r" defTabSz="1219170">
              <a:buClr>
                <a:srgbClr val="000000"/>
              </a:buClr>
            </a:pPr>
            <a:r>
              <a:rPr lang="es" sz="1600" kern="0" dirty="0">
                <a:solidFill>
                  <a:srgbClr val="000000"/>
                </a:solidFill>
                <a:latin typeface="Roboto"/>
                <a:ea typeface="Roboto"/>
                <a:cs typeface="Roboto"/>
                <a:sym typeface="Roboto"/>
              </a:rPr>
              <a:t>Connect with the team in Daily Standup to set the context of tasks</a:t>
            </a:r>
            <a:endParaRPr sz="1600" kern="0" dirty="0">
              <a:solidFill>
                <a:srgbClr val="000000"/>
              </a:solidFill>
              <a:latin typeface="Roboto"/>
              <a:ea typeface="Roboto"/>
              <a:cs typeface="Roboto"/>
              <a:sym typeface="Roboto"/>
            </a:endParaRPr>
          </a:p>
        </p:txBody>
      </p:sp>
      <p:sp>
        <p:nvSpPr>
          <p:cNvPr id="1382" name="Google Shape;1382;p49"/>
          <p:cNvSpPr/>
          <p:nvPr/>
        </p:nvSpPr>
        <p:spPr>
          <a:xfrm>
            <a:off x="2078091" y="2455250"/>
            <a:ext cx="2119600" cy="839200"/>
          </a:xfrm>
          <a:prstGeom prst="rect">
            <a:avLst/>
          </a:prstGeom>
          <a:noFill/>
          <a:ln>
            <a:noFill/>
          </a:ln>
        </p:spPr>
        <p:txBody>
          <a:bodyPr spcFirstLastPara="1" wrap="square" lIns="121900" tIns="121900" rIns="121900" bIns="121900" anchor="ctr" anchorCtr="0">
            <a:noAutofit/>
          </a:bodyPr>
          <a:lstStyle/>
          <a:p>
            <a:pPr marL="16933" defTabSz="1219170">
              <a:buClr>
                <a:srgbClr val="000000"/>
              </a:buClr>
            </a:pPr>
            <a:r>
              <a:rPr lang="es" sz="1600" kern="0" dirty="0">
                <a:solidFill>
                  <a:srgbClr val="000000"/>
                </a:solidFill>
                <a:latin typeface="Roboto"/>
                <a:ea typeface="Roboto"/>
                <a:cs typeface="Roboto"/>
                <a:sym typeface="Roboto"/>
              </a:rPr>
              <a:t>Strategize and Plan the implementation approach</a:t>
            </a:r>
            <a:endParaRPr sz="1600" kern="0" dirty="0">
              <a:solidFill>
                <a:srgbClr val="000000"/>
              </a:solidFill>
              <a:latin typeface="Roboto"/>
              <a:ea typeface="Roboto"/>
              <a:cs typeface="Roboto"/>
              <a:sym typeface="Roboto"/>
            </a:endParaRPr>
          </a:p>
        </p:txBody>
      </p:sp>
      <p:sp>
        <p:nvSpPr>
          <p:cNvPr id="1383" name="Google Shape;1383;p49"/>
          <p:cNvSpPr/>
          <p:nvPr/>
        </p:nvSpPr>
        <p:spPr>
          <a:xfrm>
            <a:off x="5036233" y="1939601"/>
            <a:ext cx="2119600" cy="839200"/>
          </a:xfrm>
          <a:prstGeom prst="rect">
            <a:avLst/>
          </a:prstGeom>
          <a:noFill/>
          <a:ln>
            <a:noFill/>
          </a:ln>
        </p:spPr>
        <p:txBody>
          <a:bodyPr spcFirstLastPara="1" wrap="square" lIns="121900" tIns="121900" rIns="121900" bIns="121900" anchor="ctr" anchorCtr="0">
            <a:noAutofit/>
          </a:bodyPr>
          <a:lstStyle/>
          <a:p>
            <a:pPr algn="ctr" defTabSz="1219170">
              <a:buClr>
                <a:srgbClr val="000000"/>
              </a:buClr>
            </a:pPr>
            <a:r>
              <a:rPr lang="es" sz="1600" kern="0" dirty="0">
                <a:solidFill>
                  <a:srgbClr val="000000"/>
                </a:solidFill>
                <a:latin typeface="Roboto"/>
                <a:ea typeface="Roboto"/>
                <a:cs typeface="Roboto"/>
                <a:sym typeface="Roboto"/>
              </a:rPr>
              <a:t>Release independent parts of the solution</a:t>
            </a:r>
            <a:endParaRPr sz="1600" kern="0" dirty="0">
              <a:solidFill>
                <a:srgbClr val="000000"/>
              </a:solidFill>
              <a:latin typeface="Roboto"/>
              <a:ea typeface="Roboto"/>
              <a:cs typeface="Roboto"/>
              <a:sym typeface="Roboto"/>
            </a:endParaRPr>
          </a:p>
        </p:txBody>
      </p:sp>
      <p:sp>
        <p:nvSpPr>
          <p:cNvPr id="1384" name="Google Shape;1384;p49"/>
          <p:cNvSpPr/>
          <p:nvPr/>
        </p:nvSpPr>
        <p:spPr>
          <a:xfrm>
            <a:off x="2164872" y="5169559"/>
            <a:ext cx="2119600" cy="925600"/>
          </a:xfrm>
          <a:prstGeom prst="rect">
            <a:avLst/>
          </a:prstGeom>
          <a:noFill/>
          <a:ln>
            <a:noFill/>
          </a:ln>
        </p:spPr>
        <p:txBody>
          <a:bodyPr spcFirstLastPara="1" wrap="square" lIns="121900" tIns="121900" rIns="121900" bIns="121900" anchor="ctr" anchorCtr="0">
            <a:noAutofit/>
          </a:bodyPr>
          <a:lstStyle/>
          <a:p>
            <a:pPr defTabSz="1219170">
              <a:buClr>
                <a:srgbClr val="000000"/>
              </a:buClr>
            </a:pPr>
            <a:r>
              <a:rPr lang="en-US" sz="1600" kern="0" dirty="0">
                <a:solidFill>
                  <a:srgbClr val="000000"/>
                </a:solidFill>
                <a:latin typeface="Roboto"/>
                <a:ea typeface="Roboto"/>
                <a:cs typeface="Roboto"/>
                <a:sym typeface="Roboto"/>
              </a:rPr>
              <a:t>Develop solutions in the time-box period </a:t>
            </a:r>
            <a:endParaRPr sz="1600" kern="0" dirty="0">
              <a:solidFill>
                <a:srgbClr val="000000"/>
              </a:solidFill>
              <a:latin typeface="Roboto"/>
              <a:ea typeface="Roboto"/>
              <a:cs typeface="Roboto"/>
              <a:sym typeface="Roboto"/>
            </a:endParaRPr>
          </a:p>
        </p:txBody>
      </p:sp>
      <p:sp>
        <p:nvSpPr>
          <p:cNvPr id="1385" name="Google Shape;1385;p49"/>
          <p:cNvSpPr/>
          <p:nvPr/>
        </p:nvSpPr>
        <p:spPr>
          <a:xfrm>
            <a:off x="7868095" y="5319797"/>
            <a:ext cx="2119600" cy="839200"/>
          </a:xfrm>
          <a:prstGeom prst="rect">
            <a:avLst/>
          </a:prstGeom>
          <a:noFill/>
          <a:ln>
            <a:noFill/>
          </a:ln>
        </p:spPr>
        <p:txBody>
          <a:bodyPr spcFirstLastPara="1" wrap="square" lIns="121900" tIns="121900" rIns="121900" bIns="121900" anchor="ctr" anchorCtr="0">
            <a:noAutofit/>
          </a:bodyPr>
          <a:lstStyle/>
          <a:p>
            <a:pPr algn="r" defTabSz="1219170">
              <a:buClr>
                <a:srgbClr val="000000"/>
              </a:buClr>
            </a:pPr>
            <a:r>
              <a:rPr lang="es" sz="1600" kern="0" dirty="0">
                <a:solidFill>
                  <a:srgbClr val="000000"/>
                </a:solidFill>
                <a:latin typeface="Roboto"/>
                <a:ea typeface="Roboto"/>
                <a:cs typeface="Roboto"/>
                <a:sym typeface="Roboto"/>
              </a:rPr>
              <a:t>Continuous delivery of small parts of the project</a:t>
            </a:r>
            <a:endParaRPr sz="1600" kern="0" dirty="0">
              <a:solidFill>
                <a:srgbClr val="000000"/>
              </a:solidFill>
              <a:latin typeface="Roboto"/>
              <a:ea typeface="Roboto"/>
              <a:cs typeface="Roboto"/>
              <a:sym typeface="Roboto"/>
            </a:endParaRPr>
          </a:p>
        </p:txBody>
      </p:sp>
      <p:grpSp>
        <p:nvGrpSpPr>
          <p:cNvPr id="1386" name="Google Shape;1386;p49"/>
          <p:cNvGrpSpPr/>
          <p:nvPr/>
        </p:nvGrpSpPr>
        <p:grpSpPr>
          <a:xfrm>
            <a:off x="1922043" y="3084443"/>
            <a:ext cx="8347906" cy="2660348"/>
            <a:chOff x="1066850" y="1827600"/>
            <a:chExt cx="7010334" cy="2234085"/>
          </a:xfrm>
        </p:grpSpPr>
        <p:sp>
          <p:nvSpPr>
            <p:cNvPr id="1387" name="Google Shape;1387;p49"/>
            <p:cNvSpPr/>
            <p:nvPr/>
          </p:nvSpPr>
          <p:spPr>
            <a:xfrm>
              <a:off x="6904593" y="2504362"/>
              <a:ext cx="1172591" cy="880746"/>
            </a:xfrm>
            <a:custGeom>
              <a:avLst/>
              <a:gdLst/>
              <a:ahLst/>
              <a:cxnLst/>
              <a:rect l="l" t="t" r="r" b="b"/>
              <a:pathLst>
                <a:path w="18912" h="14205" extrusionOk="0">
                  <a:moveTo>
                    <a:pt x="18901" y="1"/>
                  </a:moveTo>
                  <a:lnTo>
                    <a:pt x="1" y="10913"/>
                  </a:lnTo>
                  <a:lnTo>
                    <a:pt x="8" y="14205"/>
                  </a:lnTo>
                  <a:lnTo>
                    <a:pt x="18911" y="3292"/>
                  </a:lnTo>
                  <a:lnTo>
                    <a:pt x="18901" y="1"/>
                  </a:lnTo>
                  <a:close/>
                </a:path>
              </a:pathLst>
            </a:custGeom>
            <a:solidFill>
              <a:srgbClr val="4A586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88" name="Google Shape;1388;p49"/>
            <p:cNvSpPr/>
            <p:nvPr/>
          </p:nvSpPr>
          <p:spPr>
            <a:xfrm>
              <a:off x="5740244" y="1827786"/>
              <a:ext cx="2336316" cy="1353205"/>
            </a:xfrm>
            <a:custGeom>
              <a:avLst/>
              <a:gdLst/>
              <a:ahLst/>
              <a:cxnLst/>
              <a:rect l="l" t="t" r="r" b="b"/>
              <a:pathLst>
                <a:path w="37681" h="21825" extrusionOk="0">
                  <a:moveTo>
                    <a:pt x="18901" y="0"/>
                  </a:moveTo>
                  <a:lnTo>
                    <a:pt x="1" y="10913"/>
                  </a:lnTo>
                  <a:lnTo>
                    <a:pt x="18780" y="21825"/>
                  </a:lnTo>
                  <a:lnTo>
                    <a:pt x="37680" y="10913"/>
                  </a:lnTo>
                  <a:lnTo>
                    <a:pt x="18901" y="0"/>
                  </a:lnTo>
                  <a:close/>
                </a:path>
              </a:pathLst>
            </a:custGeom>
            <a:solidFill>
              <a:srgbClr val="1D2F4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89" name="Google Shape;1389;p49"/>
            <p:cNvSpPr/>
            <p:nvPr/>
          </p:nvSpPr>
          <p:spPr>
            <a:xfrm>
              <a:off x="5787428" y="1855129"/>
              <a:ext cx="2241762" cy="1298518"/>
            </a:xfrm>
            <a:custGeom>
              <a:avLst/>
              <a:gdLst/>
              <a:ahLst/>
              <a:cxnLst/>
              <a:rect l="l" t="t" r="r" b="b"/>
              <a:pathLst>
                <a:path w="36156" h="20943" extrusionOk="0">
                  <a:moveTo>
                    <a:pt x="18140" y="1"/>
                  </a:moveTo>
                  <a:lnTo>
                    <a:pt x="1" y="10474"/>
                  </a:lnTo>
                  <a:lnTo>
                    <a:pt x="18019" y="20943"/>
                  </a:lnTo>
                  <a:lnTo>
                    <a:pt x="36156" y="10472"/>
                  </a:lnTo>
                  <a:lnTo>
                    <a:pt x="18140" y="1"/>
                  </a:lnTo>
                  <a:close/>
                </a:path>
              </a:pathLst>
            </a:custGeom>
            <a:solidFill>
              <a:srgbClr val="1D2F4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0" name="Google Shape;1390;p49"/>
            <p:cNvSpPr/>
            <p:nvPr/>
          </p:nvSpPr>
          <p:spPr>
            <a:xfrm>
              <a:off x="5732060" y="2504362"/>
              <a:ext cx="1173087" cy="880746"/>
            </a:xfrm>
            <a:custGeom>
              <a:avLst/>
              <a:gdLst/>
              <a:ahLst/>
              <a:cxnLst/>
              <a:rect l="l" t="t" r="r" b="b"/>
              <a:pathLst>
                <a:path w="18920" h="14205" extrusionOk="0">
                  <a:moveTo>
                    <a:pt x="133" y="1"/>
                  </a:moveTo>
                  <a:lnTo>
                    <a:pt x="1" y="3292"/>
                  </a:lnTo>
                  <a:lnTo>
                    <a:pt x="18919" y="14205"/>
                  </a:lnTo>
                  <a:lnTo>
                    <a:pt x="18912" y="10913"/>
                  </a:lnTo>
                  <a:lnTo>
                    <a:pt x="133" y="1"/>
                  </a:lnTo>
                  <a:close/>
                </a:path>
              </a:pathLst>
            </a:custGeom>
            <a:solidFill>
              <a:srgbClr val="20948B"/>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1" name="Google Shape;1391;p49"/>
            <p:cNvSpPr/>
            <p:nvPr/>
          </p:nvSpPr>
          <p:spPr>
            <a:xfrm>
              <a:off x="3050751" y="2504362"/>
              <a:ext cx="353042" cy="424903"/>
            </a:xfrm>
            <a:custGeom>
              <a:avLst/>
              <a:gdLst/>
              <a:ahLst/>
              <a:cxnLst/>
              <a:rect l="l" t="t" r="r" b="b"/>
              <a:pathLst>
                <a:path w="5694" h="6853" extrusionOk="0">
                  <a:moveTo>
                    <a:pt x="5693" y="1"/>
                  </a:moveTo>
                  <a:lnTo>
                    <a:pt x="327" y="3117"/>
                  </a:lnTo>
                  <a:cubicBezTo>
                    <a:pt x="325" y="3120"/>
                    <a:pt x="320" y="3122"/>
                    <a:pt x="315" y="3125"/>
                  </a:cubicBezTo>
                  <a:cubicBezTo>
                    <a:pt x="304" y="3133"/>
                    <a:pt x="294" y="3138"/>
                    <a:pt x="287" y="3145"/>
                  </a:cubicBezTo>
                  <a:cubicBezTo>
                    <a:pt x="271" y="3153"/>
                    <a:pt x="259" y="3163"/>
                    <a:pt x="246" y="3171"/>
                  </a:cubicBezTo>
                  <a:cubicBezTo>
                    <a:pt x="236" y="3178"/>
                    <a:pt x="226" y="3188"/>
                    <a:pt x="216" y="3196"/>
                  </a:cubicBezTo>
                  <a:cubicBezTo>
                    <a:pt x="203" y="3206"/>
                    <a:pt x="193" y="3214"/>
                    <a:pt x="180" y="3224"/>
                  </a:cubicBezTo>
                  <a:cubicBezTo>
                    <a:pt x="180" y="3226"/>
                    <a:pt x="178" y="3226"/>
                    <a:pt x="175" y="3229"/>
                  </a:cubicBezTo>
                  <a:cubicBezTo>
                    <a:pt x="170" y="3231"/>
                    <a:pt x="167" y="3237"/>
                    <a:pt x="162" y="3242"/>
                  </a:cubicBezTo>
                  <a:cubicBezTo>
                    <a:pt x="147" y="3257"/>
                    <a:pt x="132" y="3275"/>
                    <a:pt x="117" y="3290"/>
                  </a:cubicBezTo>
                  <a:cubicBezTo>
                    <a:pt x="114" y="3295"/>
                    <a:pt x="109" y="3297"/>
                    <a:pt x="107" y="3302"/>
                  </a:cubicBezTo>
                  <a:cubicBezTo>
                    <a:pt x="104" y="3305"/>
                    <a:pt x="101" y="3310"/>
                    <a:pt x="99" y="3313"/>
                  </a:cubicBezTo>
                  <a:cubicBezTo>
                    <a:pt x="91" y="3325"/>
                    <a:pt x="81" y="3338"/>
                    <a:pt x="74" y="3351"/>
                  </a:cubicBezTo>
                  <a:cubicBezTo>
                    <a:pt x="71" y="3356"/>
                    <a:pt x="66" y="3361"/>
                    <a:pt x="63" y="3366"/>
                  </a:cubicBezTo>
                  <a:cubicBezTo>
                    <a:pt x="61" y="3368"/>
                    <a:pt x="61" y="3371"/>
                    <a:pt x="58" y="3376"/>
                  </a:cubicBezTo>
                  <a:cubicBezTo>
                    <a:pt x="53" y="3386"/>
                    <a:pt x="48" y="3399"/>
                    <a:pt x="43" y="3409"/>
                  </a:cubicBezTo>
                  <a:cubicBezTo>
                    <a:pt x="41" y="3414"/>
                    <a:pt x="38" y="3422"/>
                    <a:pt x="36" y="3427"/>
                  </a:cubicBezTo>
                  <a:cubicBezTo>
                    <a:pt x="33" y="3429"/>
                    <a:pt x="33" y="3432"/>
                    <a:pt x="33" y="3434"/>
                  </a:cubicBezTo>
                  <a:cubicBezTo>
                    <a:pt x="28" y="3447"/>
                    <a:pt x="25" y="3457"/>
                    <a:pt x="23" y="3467"/>
                  </a:cubicBezTo>
                  <a:cubicBezTo>
                    <a:pt x="20" y="3475"/>
                    <a:pt x="18" y="3483"/>
                    <a:pt x="18" y="3490"/>
                  </a:cubicBezTo>
                  <a:cubicBezTo>
                    <a:pt x="18" y="3493"/>
                    <a:pt x="18" y="3493"/>
                    <a:pt x="15" y="3495"/>
                  </a:cubicBezTo>
                  <a:cubicBezTo>
                    <a:pt x="15" y="3508"/>
                    <a:pt x="13" y="3521"/>
                    <a:pt x="13" y="3531"/>
                  </a:cubicBezTo>
                  <a:cubicBezTo>
                    <a:pt x="13" y="3538"/>
                    <a:pt x="10" y="3546"/>
                    <a:pt x="10" y="3554"/>
                  </a:cubicBezTo>
                  <a:cubicBezTo>
                    <a:pt x="10" y="3556"/>
                    <a:pt x="10" y="3559"/>
                    <a:pt x="10" y="3561"/>
                  </a:cubicBezTo>
                  <a:lnTo>
                    <a:pt x="0" y="6852"/>
                  </a:lnTo>
                  <a:lnTo>
                    <a:pt x="0" y="6852"/>
                  </a:lnTo>
                  <a:cubicBezTo>
                    <a:pt x="0" y="6842"/>
                    <a:pt x="3" y="6832"/>
                    <a:pt x="3" y="6822"/>
                  </a:cubicBezTo>
                  <a:cubicBezTo>
                    <a:pt x="5" y="6812"/>
                    <a:pt x="5" y="6800"/>
                    <a:pt x="8" y="6787"/>
                  </a:cubicBezTo>
                  <a:cubicBezTo>
                    <a:pt x="8" y="6779"/>
                    <a:pt x="10" y="6769"/>
                    <a:pt x="13" y="6761"/>
                  </a:cubicBezTo>
                  <a:cubicBezTo>
                    <a:pt x="15" y="6749"/>
                    <a:pt x="20" y="6739"/>
                    <a:pt x="23" y="6729"/>
                  </a:cubicBezTo>
                  <a:cubicBezTo>
                    <a:pt x="25" y="6718"/>
                    <a:pt x="30" y="6711"/>
                    <a:pt x="33" y="6701"/>
                  </a:cubicBezTo>
                  <a:cubicBezTo>
                    <a:pt x="38" y="6690"/>
                    <a:pt x="43" y="6678"/>
                    <a:pt x="51" y="6668"/>
                  </a:cubicBezTo>
                  <a:cubicBezTo>
                    <a:pt x="53" y="6660"/>
                    <a:pt x="61" y="6650"/>
                    <a:pt x="66" y="6642"/>
                  </a:cubicBezTo>
                  <a:cubicBezTo>
                    <a:pt x="74" y="6630"/>
                    <a:pt x="81" y="6617"/>
                    <a:pt x="89" y="6604"/>
                  </a:cubicBezTo>
                  <a:cubicBezTo>
                    <a:pt x="96" y="6597"/>
                    <a:pt x="101" y="6589"/>
                    <a:pt x="109" y="6584"/>
                  </a:cubicBezTo>
                  <a:cubicBezTo>
                    <a:pt x="122" y="6566"/>
                    <a:pt x="137" y="6548"/>
                    <a:pt x="155" y="6533"/>
                  </a:cubicBezTo>
                  <a:cubicBezTo>
                    <a:pt x="160" y="6528"/>
                    <a:pt x="165" y="6521"/>
                    <a:pt x="172" y="6516"/>
                  </a:cubicBezTo>
                  <a:cubicBezTo>
                    <a:pt x="183" y="6505"/>
                    <a:pt x="195" y="6498"/>
                    <a:pt x="205" y="6488"/>
                  </a:cubicBezTo>
                  <a:cubicBezTo>
                    <a:pt x="216" y="6480"/>
                    <a:pt x="226" y="6472"/>
                    <a:pt x="236" y="6462"/>
                  </a:cubicBezTo>
                  <a:cubicBezTo>
                    <a:pt x="249" y="6455"/>
                    <a:pt x="264" y="6444"/>
                    <a:pt x="276" y="6437"/>
                  </a:cubicBezTo>
                  <a:cubicBezTo>
                    <a:pt x="289" y="6427"/>
                    <a:pt x="304" y="6419"/>
                    <a:pt x="320" y="6409"/>
                  </a:cubicBezTo>
                  <a:lnTo>
                    <a:pt x="5683" y="3292"/>
                  </a:lnTo>
                  <a:lnTo>
                    <a:pt x="5693" y="1"/>
                  </a:lnTo>
                  <a:close/>
                  <a:moveTo>
                    <a:pt x="0" y="6852"/>
                  </a:moveTo>
                  <a:cubicBezTo>
                    <a:pt x="0" y="6853"/>
                    <a:pt x="0" y="6853"/>
                    <a:pt x="0" y="6853"/>
                  </a:cubicBezTo>
                  <a:lnTo>
                    <a:pt x="0" y="6852"/>
                  </a:lnTo>
                  <a:close/>
                </a:path>
              </a:pathLst>
            </a:custGeom>
            <a:solidFill>
              <a:srgbClr val="BC600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2" name="Google Shape;1392;p49"/>
            <p:cNvSpPr/>
            <p:nvPr/>
          </p:nvSpPr>
          <p:spPr>
            <a:xfrm>
              <a:off x="1067470" y="1827600"/>
              <a:ext cx="2336316" cy="1353391"/>
            </a:xfrm>
            <a:custGeom>
              <a:avLst/>
              <a:gdLst/>
              <a:ahLst/>
              <a:cxnLst/>
              <a:rect l="l" t="t" r="r" b="b"/>
              <a:pathLst>
                <a:path w="37681" h="21828" extrusionOk="0">
                  <a:moveTo>
                    <a:pt x="18780" y="1"/>
                  </a:moveTo>
                  <a:lnTo>
                    <a:pt x="1" y="10913"/>
                  </a:lnTo>
                  <a:lnTo>
                    <a:pt x="18901" y="21828"/>
                  </a:lnTo>
                  <a:lnTo>
                    <a:pt x="24268" y="18709"/>
                  </a:lnTo>
                  <a:cubicBezTo>
                    <a:pt x="24485" y="18583"/>
                    <a:pt x="24762" y="18524"/>
                    <a:pt x="25036" y="18524"/>
                  </a:cubicBezTo>
                  <a:cubicBezTo>
                    <a:pt x="25321" y="18524"/>
                    <a:pt x="25604" y="18588"/>
                    <a:pt x="25812" y="18709"/>
                  </a:cubicBezTo>
                  <a:cubicBezTo>
                    <a:pt x="25916" y="18767"/>
                    <a:pt x="26002" y="18840"/>
                    <a:pt x="26058" y="18929"/>
                  </a:cubicBezTo>
                  <a:cubicBezTo>
                    <a:pt x="26312" y="19307"/>
                    <a:pt x="26705" y="19665"/>
                    <a:pt x="27235" y="19972"/>
                  </a:cubicBezTo>
                  <a:cubicBezTo>
                    <a:pt x="28246" y="20555"/>
                    <a:pt x="29567" y="20847"/>
                    <a:pt x="30887" y="20847"/>
                  </a:cubicBezTo>
                  <a:cubicBezTo>
                    <a:pt x="32269" y="20847"/>
                    <a:pt x="33648" y="20527"/>
                    <a:pt x="34668" y="19888"/>
                  </a:cubicBezTo>
                  <a:cubicBezTo>
                    <a:pt x="36460" y="18764"/>
                    <a:pt x="36473" y="17002"/>
                    <a:pt x="34695" y="15863"/>
                  </a:cubicBezTo>
                  <a:cubicBezTo>
                    <a:pt x="34635" y="15823"/>
                    <a:pt x="34569" y="15785"/>
                    <a:pt x="34505" y="15747"/>
                  </a:cubicBezTo>
                  <a:cubicBezTo>
                    <a:pt x="33973" y="15440"/>
                    <a:pt x="33351" y="15214"/>
                    <a:pt x="32692" y="15067"/>
                  </a:cubicBezTo>
                  <a:cubicBezTo>
                    <a:pt x="32545" y="15037"/>
                    <a:pt x="32418" y="14986"/>
                    <a:pt x="32314" y="14928"/>
                  </a:cubicBezTo>
                  <a:cubicBezTo>
                    <a:pt x="31908" y="14692"/>
                    <a:pt x="31873" y="14288"/>
                    <a:pt x="32314" y="14032"/>
                  </a:cubicBezTo>
                  <a:lnTo>
                    <a:pt x="37680" y="10916"/>
                  </a:lnTo>
                  <a:lnTo>
                    <a:pt x="18780" y="1"/>
                  </a:lnTo>
                  <a:close/>
                </a:path>
              </a:pathLst>
            </a:custGeom>
            <a:solidFill>
              <a:srgbClr val="F29F0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3" name="Google Shape;1393;p49"/>
            <p:cNvSpPr/>
            <p:nvPr/>
          </p:nvSpPr>
          <p:spPr>
            <a:xfrm>
              <a:off x="1114654" y="1855005"/>
              <a:ext cx="2241762" cy="1298642"/>
            </a:xfrm>
            <a:custGeom>
              <a:avLst/>
              <a:gdLst/>
              <a:ahLst/>
              <a:cxnLst/>
              <a:rect l="l" t="t" r="r" b="b"/>
              <a:pathLst>
                <a:path w="36156" h="20945" extrusionOk="0">
                  <a:moveTo>
                    <a:pt x="18019" y="0"/>
                  </a:moveTo>
                  <a:lnTo>
                    <a:pt x="1" y="10471"/>
                  </a:lnTo>
                  <a:lnTo>
                    <a:pt x="18140" y="20945"/>
                  </a:lnTo>
                  <a:lnTo>
                    <a:pt x="23314" y="17937"/>
                  </a:lnTo>
                  <a:cubicBezTo>
                    <a:pt x="23578" y="17785"/>
                    <a:pt x="23920" y="17699"/>
                    <a:pt x="24275" y="17699"/>
                  </a:cubicBezTo>
                  <a:cubicBezTo>
                    <a:pt x="24635" y="17699"/>
                    <a:pt x="24980" y="17782"/>
                    <a:pt x="25241" y="17934"/>
                  </a:cubicBezTo>
                  <a:cubicBezTo>
                    <a:pt x="25401" y="18026"/>
                    <a:pt x="25528" y="18142"/>
                    <a:pt x="25616" y="18274"/>
                  </a:cubicBezTo>
                  <a:cubicBezTo>
                    <a:pt x="25842" y="18617"/>
                    <a:pt x="26197" y="18929"/>
                    <a:pt x="26666" y="19200"/>
                  </a:cubicBezTo>
                  <a:cubicBezTo>
                    <a:pt x="27584" y="19730"/>
                    <a:pt x="28814" y="20022"/>
                    <a:pt x="30125" y="20022"/>
                  </a:cubicBezTo>
                  <a:cubicBezTo>
                    <a:pt x="31487" y="20022"/>
                    <a:pt x="32791" y="19694"/>
                    <a:pt x="33704" y="19124"/>
                  </a:cubicBezTo>
                  <a:cubicBezTo>
                    <a:pt x="34457" y="18650"/>
                    <a:pt x="34875" y="18049"/>
                    <a:pt x="34878" y="17432"/>
                  </a:cubicBezTo>
                  <a:cubicBezTo>
                    <a:pt x="34880" y="16819"/>
                    <a:pt x="34472" y="16220"/>
                    <a:pt x="33729" y="15743"/>
                  </a:cubicBezTo>
                  <a:cubicBezTo>
                    <a:pt x="33671" y="15705"/>
                    <a:pt x="33612" y="15670"/>
                    <a:pt x="33552" y="15637"/>
                  </a:cubicBezTo>
                  <a:cubicBezTo>
                    <a:pt x="33065" y="15355"/>
                    <a:pt x="32491" y="15140"/>
                    <a:pt x="31850" y="15000"/>
                  </a:cubicBezTo>
                  <a:cubicBezTo>
                    <a:pt x="31667" y="14960"/>
                    <a:pt x="31505" y="14896"/>
                    <a:pt x="31363" y="14815"/>
                  </a:cubicBezTo>
                  <a:cubicBezTo>
                    <a:pt x="31041" y="14630"/>
                    <a:pt x="30853" y="14346"/>
                    <a:pt x="30853" y="14037"/>
                  </a:cubicBezTo>
                  <a:cubicBezTo>
                    <a:pt x="30853" y="13732"/>
                    <a:pt x="31038" y="13448"/>
                    <a:pt x="31363" y="13261"/>
                  </a:cubicBezTo>
                  <a:lnTo>
                    <a:pt x="36156" y="10474"/>
                  </a:lnTo>
                  <a:lnTo>
                    <a:pt x="18019" y="0"/>
                  </a:lnTo>
                  <a:close/>
                </a:path>
              </a:pathLst>
            </a:custGeom>
            <a:solidFill>
              <a:srgbClr val="F29F0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4" name="Google Shape;1394;p49"/>
            <p:cNvSpPr/>
            <p:nvPr/>
          </p:nvSpPr>
          <p:spPr>
            <a:xfrm>
              <a:off x="2238887" y="2935841"/>
              <a:ext cx="1062041" cy="449270"/>
            </a:xfrm>
            <a:custGeom>
              <a:avLst/>
              <a:gdLst/>
              <a:ahLst/>
              <a:cxnLst/>
              <a:rect l="l" t="t" r="r" b="b"/>
              <a:pathLst>
                <a:path w="17129" h="7246" extrusionOk="0">
                  <a:moveTo>
                    <a:pt x="17129" y="0"/>
                  </a:moveTo>
                  <a:lnTo>
                    <a:pt x="17129" y="0"/>
                  </a:lnTo>
                  <a:cubicBezTo>
                    <a:pt x="17126" y="28"/>
                    <a:pt x="17126" y="56"/>
                    <a:pt x="17124" y="84"/>
                  </a:cubicBezTo>
                  <a:cubicBezTo>
                    <a:pt x="17124" y="112"/>
                    <a:pt x="17121" y="140"/>
                    <a:pt x="17119" y="168"/>
                  </a:cubicBezTo>
                  <a:cubicBezTo>
                    <a:pt x="17116" y="188"/>
                    <a:pt x="17114" y="208"/>
                    <a:pt x="17111" y="229"/>
                  </a:cubicBezTo>
                  <a:cubicBezTo>
                    <a:pt x="17106" y="256"/>
                    <a:pt x="17103" y="284"/>
                    <a:pt x="17098" y="312"/>
                  </a:cubicBezTo>
                  <a:cubicBezTo>
                    <a:pt x="17093" y="333"/>
                    <a:pt x="17091" y="353"/>
                    <a:pt x="17086" y="373"/>
                  </a:cubicBezTo>
                  <a:cubicBezTo>
                    <a:pt x="17081" y="398"/>
                    <a:pt x="17073" y="426"/>
                    <a:pt x="17065" y="454"/>
                  </a:cubicBezTo>
                  <a:cubicBezTo>
                    <a:pt x="17060" y="475"/>
                    <a:pt x="17055" y="495"/>
                    <a:pt x="17050" y="515"/>
                  </a:cubicBezTo>
                  <a:cubicBezTo>
                    <a:pt x="17040" y="540"/>
                    <a:pt x="17032" y="568"/>
                    <a:pt x="17022" y="596"/>
                  </a:cubicBezTo>
                  <a:cubicBezTo>
                    <a:pt x="17015" y="614"/>
                    <a:pt x="17010" y="634"/>
                    <a:pt x="17002" y="655"/>
                  </a:cubicBezTo>
                  <a:cubicBezTo>
                    <a:pt x="16989" y="685"/>
                    <a:pt x="16977" y="715"/>
                    <a:pt x="16964" y="743"/>
                  </a:cubicBezTo>
                  <a:cubicBezTo>
                    <a:pt x="16956" y="761"/>
                    <a:pt x="16949" y="779"/>
                    <a:pt x="16941" y="797"/>
                  </a:cubicBezTo>
                  <a:cubicBezTo>
                    <a:pt x="16923" y="832"/>
                    <a:pt x="16903" y="868"/>
                    <a:pt x="16885" y="906"/>
                  </a:cubicBezTo>
                  <a:cubicBezTo>
                    <a:pt x="16878" y="916"/>
                    <a:pt x="16875" y="926"/>
                    <a:pt x="16868" y="936"/>
                  </a:cubicBezTo>
                  <a:cubicBezTo>
                    <a:pt x="16842" y="984"/>
                    <a:pt x="16812" y="1030"/>
                    <a:pt x="16779" y="1078"/>
                  </a:cubicBezTo>
                  <a:cubicBezTo>
                    <a:pt x="16771" y="1093"/>
                    <a:pt x="16761" y="1106"/>
                    <a:pt x="16751" y="1119"/>
                  </a:cubicBezTo>
                  <a:cubicBezTo>
                    <a:pt x="16728" y="1154"/>
                    <a:pt x="16703" y="1187"/>
                    <a:pt x="16677" y="1220"/>
                  </a:cubicBezTo>
                  <a:cubicBezTo>
                    <a:pt x="16667" y="1235"/>
                    <a:pt x="16655" y="1251"/>
                    <a:pt x="16642" y="1266"/>
                  </a:cubicBezTo>
                  <a:cubicBezTo>
                    <a:pt x="16609" y="1306"/>
                    <a:pt x="16573" y="1347"/>
                    <a:pt x="16535" y="1387"/>
                  </a:cubicBezTo>
                  <a:cubicBezTo>
                    <a:pt x="16525" y="1400"/>
                    <a:pt x="16515" y="1413"/>
                    <a:pt x="16502" y="1426"/>
                  </a:cubicBezTo>
                  <a:cubicBezTo>
                    <a:pt x="16454" y="1476"/>
                    <a:pt x="16406" y="1527"/>
                    <a:pt x="16353" y="1575"/>
                  </a:cubicBezTo>
                  <a:cubicBezTo>
                    <a:pt x="16330" y="1598"/>
                    <a:pt x="16305" y="1618"/>
                    <a:pt x="16279" y="1639"/>
                  </a:cubicBezTo>
                  <a:cubicBezTo>
                    <a:pt x="16261" y="1656"/>
                    <a:pt x="16244" y="1671"/>
                    <a:pt x="16223" y="1687"/>
                  </a:cubicBezTo>
                  <a:cubicBezTo>
                    <a:pt x="16198" y="1710"/>
                    <a:pt x="16168" y="1732"/>
                    <a:pt x="16140" y="1755"/>
                  </a:cubicBezTo>
                  <a:cubicBezTo>
                    <a:pt x="16122" y="1770"/>
                    <a:pt x="16104" y="1786"/>
                    <a:pt x="16084" y="1801"/>
                  </a:cubicBezTo>
                  <a:cubicBezTo>
                    <a:pt x="16054" y="1824"/>
                    <a:pt x="16018" y="1849"/>
                    <a:pt x="15985" y="1872"/>
                  </a:cubicBezTo>
                  <a:cubicBezTo>
                    <a:pt x="15967" y="1885"/>
                    <a:pt x="15952" y="1897"/>
                    <a:pt x="15934" y="1910"/>
                  </a:cubicBezTo>
                  <a:cubicBezTo>
                    <a:pt x="15884" y="1945"/>
                    <a:pt x="15830" y="1978"/>
                    <a:pt x="15775" y="2014"/>
                  </a:cubicBezTo>
                  <a:cubicBezTo>
                    <a:pt x="15737" y="2039"/>
                    <a:pt x="15696" y="2062"/>
                    <a:pt x="15658" y="2085"/>
                  </a:cubicBezTo>
                  <a:cubicBezTo>
                    <a:pt x="15589" y="2123"/>
                    <a:pt x="15521" y="2161"/>
                    <a:pt x="15450" y="2199"/>
                  </a:cubicBezTo>
                  <a:cubicBezTo>
                    <a:pt x="15435" y="2207"/>
                    <a:pt x="15420" y="2217"/>
                    <a:pt x="15404" y="2224"/>
                  </a:cubicBezTo>
                  <a:cubicBezTo>
                    <a:pt x="15318" y="2267"/>
                    <a:pt x="15232" y="2308"/>
                    <a:pt x="15146" y="2349"/>
                  </a:cubicBezTo>
                  <a:cubicBezTo>
                    <a:pt x="15123" y="2359"/>
                    <a:pt x="15100" y="2369"/>
                    <a:pt x="15077" y="2376"/>
                  </a:cubicBezTo>
                  <a:cubicBezTo>
                    <a:pt x="15006" y="2409"/>
                    <a:pt x="14933" y="2440"/>
                    <a:pt x="14859" y="2468"/>
                  </a:cubicBezTo>
                  <a:cubicBezTo>
                    <a:pt x="14836" y="2475"/>
                    <a:pt x="14813" y="2486"/>
                    <a:pt x="14791" y="2496"/>
                  </a:cubicBezTo>
                  <a:cubicBezTo>
                    <a:pt x="14697" y="2529"/>
                    <a:pt x="14603" y="2562"/>
                    <a:pt x="14509" y="2595"/>
                  </a:cubicBezTo>
                  <a:cubicBezTo>
                    <a:pt x="14474" y="2605"/>
                    <a:pt x="14438" y="2615"/>
                    <a:pt x="14403" y="2625"/>
                  </a:cubicBezTo>
                  <a:cubicBezTo>
                    <a:pt x="14362" y="2638"/>
                    <a:pt x="14321" y="2650"/>
                    <a:pt x="14281" y="2663"/>
                  </a:cubicBezTo>
                  <a:cubicBezTo>
                    <a:pt x="14243" y="2673"/>
                    <a:pt x="14205" y="2683"/>
                    <a:pt x="14169" y="2693"/>
                  </a:cubicBezTo>
                  <a:cubicBezTo>
                    <a:pt x="14126" y="2704"/>
                    <a:pt x="14086" y="2716"/>
                    <a:pt x="14045" y="2726"/>
                  </a:cubicBezTo>
                  <a:cubicBezTo>
                    <a:pt x="14007" y="2737"/>
                    <a:pt x="13969" y="2744"/>
                    <a:pt x="13931" y="2754"/>
                  </a:cubicBezTo>
                  <a:cubicBezTo>
                    <a:pt x="13888" y="2764"/>
                    <a:pt x="13847" y="2775"/>
                    <a:pt x="13804" y="2782"/>
                  </a:cubicBezTo>
                  <a:cubicBezTo>
                    <a:pt x="13766" y="2792"/>
                    <a:pt x="13726" y="2800"/>
                    <a:pt x="13687" y="2808"/>
                  </a:cubicBezTo>
                  <a:cubicBezTo>
                    <a:pt x="13644" y="2815"/>
                    <a:pt x="13601" y="2823"/>
                    <a:pt x="13558" y="2833"/>
                  </a:cubicBezTo>
                  <a:cubicBezTo>
                    <a:pt x="13533" y="2835"/>
                    <a:pt x="13507" y="2841"/>
                    <a:pt x="13482" y="2846"/>
                  </a:cubicBezTo>
                  <a:cubicBezTo>
                    <a:pt x="13406" y="2858"/>
                    <a:pt x="13330" y="2871"/>
                    <a:pt x="13254" y="2881"/>
                  </a:cubicBezTo>
                  <a:cubicBezTo>
                    <a:pt x="13223" y="2886"/>
                    <a:pt x="13193" y="2891"/>
                    <a:pt x="13163" y="2894"/>
                  </a:cubicBezTo>
                  <a:cubicBezTo>
                    <a:pt x="13079" y="2907"/>
                    <a:pt x="12995" y="2917"/>
                    <a:pt x="12911" y="2924"/>
                  </a:cubicBezTo>
                  <a:cubicBezTo>
                    <a:pt x="12894" y="2927"/>
                    <a:pt x="12876" y="2929"/>
                    <a:pt x="12858" y="2929"/>
                  </a:cubicBezTo>
                  <a:cubicBezTo>
                    <a:pt x="12767" y="2939"/>
                    <a:pt x="12678" y="2947"/>
                    <a:pt x="12589" y="2952"/>
                  </a:cubicBezTo>
                  <a:cubicBezTo>
                    <a:pt x="12577" y="2955"/>
                    <a:pt x="12564" y="2955"/>
                    <a:pt x="12551" y="2955"/>
                  </a:cubicBezTo>
                  <a:cubicBezTo>
                    <a:pt x="12473" y="2960"/>
                    <a:pt x="12397" y="2965"/>
                    <a:pt x="12318" y="2967"/>
                  </a:cubicBezTo>
                  <a:cubicBezTo>
                    <a:pt x="12283" y="2967"/>
                    <a:pt x="12244" y="2967"/>
                    <a:pt x="12206" y="2970"/>
                  </a:cubicBezTo>
                  <a:cubicBezTo>
                    <a:pt x="12158" y="2970"/>
                    <a:pt x="12110" y="2972"/>
                    <a:pt x="12059" y="2972"/>
                  </a:cubicBezTo>
                  <a:lnTo>
                    <a:pt x="11945" y="2972"/>
                  </a:lnTo>
                  <a:cubicBezTo>
                    <a:pt x="11897" y="2972"/>
                    <a:pt x="11849" y="2972"/>
                    <a:pt x="11801" y="2970"/>
                  </a:cubicBezTo>
                  <a:cubicBezTo>
                    <a:pt x="11760" y="2970"/>
                    <a:pt x="11720" y="2967"/>
                    <a:pt x="11676" y="2967"/>
                  </a:cubicBezTo>
                  <a:cubicBezTo>
                    <a:pt x="11633" y="2965"/>
                    <a:pt x="11590" y="2962"/>
                    <a:pt x="11547" y="2962"/>
                  </a:cubicBezTo>
                  <a:cubicBezTo>
                    <a:pt x="11507" y="2960"/>
                    <a:pt x="11466" y="2957"/>
                    <a:pt x="11423" y="2955"/>
                  </a:cubicBezTo>
                  <a:cubicBezTo>
                    <a:pt x="11382" y="2950"/>
                    <a:pt x="11339" y="2947"/>
                    <a:pt x="11296" y="2945"/>
                  </a:cubicBezTo>
                  <a:cubicBezTo>
                    <a:pt x="11253" y="2942"/>
                    <a:pt x="11212" y="2937"/>
                    <a:pt x="11172" y="2934"/>
                  </a:cubicBezTo>
                  <a:cubicBezTo>
                    <a:pt x="11129" y="2929"/>
                    <a:pt x="11086" y="2927"/>
                    <a:pt x="11045" y="2922"/>
                  </a:cubicBezTo>
                  <a:cubicBezTo>
                    <a:pt x="11002" y="2917"/>
                    <a:pt x="10961" y="2912"/>
                    <a:pt x="10921" y="2907"/>
                  </a:cubicBezTo>
                  <a:cubicBezTo>
                    <a:pt x="10878" y="2901"/>
                    <a:pt x="10837" y="2896"/>
                    <a:pt x="10794" y="2891"/>
                  </a:cubicBezTo>
                  <a:cubicBezTo>
                    <a:pt x="10756" y="2886"/>
                    <a:pt x="10718" y="2879"/>
                    <a:pt x="10677" y="2874"/>
                  </a:cubicBezTo>
                  <a:cubicBezTo>
                    <a:pt x="10632" y="2866"/>
                    <a:pt x="10586" y="2858"/>
                    <a:pt x="10543" y="2851"/>
                  </a:cubicBezTo>
                  <a:cubicBezTo>
                    <a:pt x="10502" y="2846"/>
                    <a:pt x="10464" y="2838"/>
                    <a:pt x="10426" y="2830"/>
                  </a:cubicBezTo>
                  <a:cubicBezTo>
                    <a:pt x="10381" y="2823"/>
                    <a:pt x="10337" y="2815"/>
                    <a:pt x="10292" y="2805"/>
                  </a:cubicBezTo>
                  <a:cubicBezTo>
                    <a:pt x="10256" y="2797"/>
                    <a:pt x="10221" y="2790"/>
                    <a:pt x="10185" y="2782"/>
                  </a:cubicBezTo>
                  <a:cubicBezTo>
                    <a:pt x="10135" y="2772"/>
                    <a:pt x="10084" y="2759"/>
                    <a:pt x="10031" y="2749"/>
                  </a:cubicBezTo>
                  <a:cubicBezTo>
                    <a:pt x="9998" y="2739"/>
                    <a:pt x="9962" y="2732"/>
                    <a:pt x="9927" y="2721"/>
                  </a:cubicBezTo>
                  <a:cubicBezTo>
                    <a:pt x="9876" y="2709"/>
                    <a:pt x="9825" y="2696"/>
                    <a:pt x="9777" y="2683"/>
                  </a:cubicBezTo>
                  <a:cubicBezTo>
                    <a:pt x="9744" y="2673"/>
                    <a:pt x="9714" y="2666"/>
                    <a:pt x="9681" y="2655"/>
                  </a:cubicBezTo>
                  <a:cubicBezTo>
                    <a:pt x="9584" y="2628"/>
                    <a:pt x="9490" y="2600"/>
                    <a:pt x="9397" y="2567"/>
                  </a:cubicBezTo>
                  <a:lnTo>
                    <a:pt x="9392" y="2567"/>
                  </a:lnTo>
                  <a:cubicBezTo>
                    <a:pt x="9300" y="2536"/>
                    <a:pt x="9209" y="2501"/>
                    <a:pt x="9120" y="2468"/>
                  </a:cubicBezTo>
                  <a:cubicBezTo>
                    <a:pt x="9085" y="2453"/>
                    <a:pt x="9049" y="2437"/>
                    <a:pt x="9014" y="2425"/>
                  </a:cubicBezTo>
                  <a:cubicBezTo>
                    <a:pt x="8983" y="2412"/>
                    <a:pt x="8955" y="2399"/>
                    <a:pt x="8927" y="2389"/>
                  </a:cubicBezTo>
                  <a:cubicBezTo>
                    <a:pt x="8887" y="2371"/>
                    <a:pt x="8846" y="2351"/>
                    <a:pt x="8806" y="2333"/>
                  </a:cubicBezTo>
                  <a:cubicBezTo>
                    <a:pt x="8778" y="2321"/>
                    <a:pt x="8752" y="2311"/>
                    <a:pt x="8725" y="2298"/>
                  </a:cubicBezTo>
                  <a:cubicBezTo>
                    <a:pt x="8681" y="2278"/>
                    <a:pt x="8638" y="2255"/>
                    <a:pt x="8595" y="2234"/>
                  </a:cubicBezTo>
                  <a:cubicBezTo>
                    <a:pt x="8575" y="2222"/>
                    <a:pt x="8552" y="2212"/>
                    <a:pt x="8532" y="2202"/>
                  </a:cubicBezTo>
                  <a:cubicBezTo>
                    <a:pt x="8466" y="2169"/>
                    <a:pt x="8405" y="2133"/>
                    <a:pt x="8342" y="2098"/>
                  </a:cubicBezTo>
                  <a:cubicBezTo>
                    <a:pt x="7812" y="1791"/>
                    <a:pt x="7419" y="1433"/>
                    <a:pt x="7165" y="1055"/>
                  </a:cubicBezTo>
                  <a:cubicBezTo>
                    <a:pt x="7109" y="966"/>
                    <a:pt x="7023" y="893"/>
                    <a:pt x="6919" y="835"/>
                  </a:cubicBezTo>
                  <a:cubicBezTo>
                    <a:pt x="6894" y="819"/>
                    <a:pt x="6868" y="807"/>
                    <a:pt x="6843" y="794"/>
                  </a:cubicBezTo>
                  <a:cubicBezTo>
                    <a:pt x="6833" y="789"/>
                    <a:pt x="6823" y="786"/>
                    <a:pt x="6815" y="781"/>
                  </a:cubicBezTo>
                  <a:cubicBezTo>
                    <a:pt x="6800" y="774"/>
                    <a:pt x="6782" y="766"/>
                    <a:pt x="6767" y="761"/>
                  </a:cubicBezTo>
                  <a:cubicBezTo>
                    <a:pt x="6764" y="759"/>
                    <a:pt x="6762" y="759"/>
                    <a:pt x="6762" y="759"/>
                  </a:cubicBezTo>
                  <a:cubicBezTo>
                    <a:pt x="6724" y="743"/>
                    <a:pt x="6683" y="731"/>
                    <a:pt x="6645" y="718"/>
                  </a:cubicBezTo>
                  <a:cubicBezTo>
                    <a:pt x="6640" y="718"/>
                    <a:pt x="6637" y="715"/>
                    <a:pt x="6632" y="715"/>
                  </a:cubicBezTo>
                  <a:cubicBezTo>
                    <a:pt x="6625" y="713"/>
                    <a:pt x="6617" y="710"/>
                    <a:pt x="6607" y="710"/>
                  </a:cubicBezTo>
                  <a:cubicBezTo>
                    <a:pt x="6584" y="703"/>
                    <a:pt x="6561" y="698"/>
                    <a:pt x="6539" y="693"/>
                  </a:cubicBezTo>
                  <a:cubicBezTo>
                    <a:pt x="6531" y="690"/>
                    <a:pt x="6526" y="688"/>
                    <a:pt x="6518" y="688"/>
                  </a:cubicBezTo>
                  <a:cubicBezTo>
                    <a:pt x="6511" y="685"/>
                    <a:pt x="6503" y="685"/>
                    <a:pt x="6495" y="682"/>
                  </a:cubicBezTo>
                  <a:cubicBezTo>
                    <a:pt x="6475" y="680"/>
                    <a:pt x="6455" y="675"/>
                    <a:pt x="6435" y="672"/>
                  </a:cubicBezTo>
                  <a:cubicBezTo>
                    <a:pt x="6427" y="672"/>
                    <a:pt x="6417" y="670"/>
                    <a:pt x="6407" y="667"/>
                  </a:cubicBezTo>
                  <a:cubicBezTo>
                    <a:pt x="6402" y="667"/>
                    <a:pt x="6394" y="667"/>
                    <a:pt x="6389" y="665"/>
                  </a:cubicBezTo>
                  <a:cubicBezTo>
                    <a:pt x="6369" y="662"/>
                    <a:pt x="6351" y="662"/>
                    <a:pt x="6331" y="660"/>
                  </a:cubicBezTo>
                  <a:cubicBezTo>
                    <a:pt x="6320" y="657"/>
                    <a:pt x="6310" y="657"/>
                    <a:pt x="6300" y="657"/>
                  </a:cubicBezTo>
                  <a:cubicBezTo>
                    <a:pt x="6295" y="655"/>
                    <a:pt x="6288" y="655"/>
                    <a:pt x="6282" y="655"/>
                  </a:cubicBezTo>
                  <a:cubicBezTo>
                    <a:pt x="6265" y="655"/>
                    <a:pt x="6244" y="652"/>
                    <a:pt x="6227" y="652"/>
                  </a:cubicBezTo>
                  <a:cubicBezTo>
                    <a:pt x="6214" y="652"/>
                    <a:pt x="6204" y="650"/>
                    <a:pt x="6191" y="650"/>
                  </a:cubicBezTo>
                  <a:lnTo>
                    <a:pt x="6080" y="650"/>
                  </a:lnTo>
                  <a:cubicBezTo>
                    <a:pt x="6077" y="650"/>
                    <a:pt x="6072" y="652"/>
                    <a:pt x="6069" y="652"/>
                  </a:cubicBezTo>
                  <a:cubicBezTo>
                    <a:pt x="6039" y="652"/>
                    <a:pt x="6011" y="655"/>
                    <a:pt x="5983" y="657"/>
                  </a:cubicBezTo>
                  <a:cubicBezTo>
                    <a:pt x="5973" y="657"/>
                    <a:pt x="5965" y="657"/>
                    <a:pt x="5958" y="660"/>
                  </a:cubicBezTo>
                  <a:lnTo>
                    <a:pt x="5955" y="660"/>
                  </a:lnTo>
                  <a:cubicBezTo>
                    <a:pt x="5912" y="662"/>
                    <a:pt x="5872" y="670"/>
                    <a:pt x="5831" y="677"/>
                  </a:cubicBezTo>
                  <a:lnTo>
                    <a:pt x="5821" y="677"/>
                  </a:lnTo>
                  <a:cubicBezTo>
                    <a:pt x="5808" y="680"/>
                    <a:pt x="5798" y="682"/>
                    <a:pt x="5785" y="685"/>
                  </a:cubicBezTo>
                  <a:cubicBezTo>
                    <a:pt x="5768" y="690"/>
                    <a:pt x="5750" y="693"/>
                    <a:pt x="5732" y="698"/>
                  </a:cubicBezTo>
                  <a:cubicBezTo>
                    <a:pt x="5714" y="700"/>
                    <a:pt x="5699" y="705"/>
                    <a:pt x="5684" y="710"/>
                  </a:cubicBezTo>
                  <a:cubicBezTo>
                    <a:pt x="5666" y="715"/>
                    <a:pt x="5648" y="718"/>
                    <a:pt x="5631" y="726"/>
                  </a:cubicBezTo>
                  <a:cubicBezTo>
                    <a:pt x="5626" y="726"/>
                    <a:pt x="5621" y="728"/>
                    <a:pt x="5615" y="728"/>
                  </a:cubicBezTo>
                  <a:cubicBezTo>
                    <a:pt x="5608" y="731"/>
                    <a:pt x="5603" y="733"/>
                    <a:pt x="5595" y="736"/>
                  </a:cubicBezTo>
                  <a:cubicBezTo>
                    <a:pt x="5567" y="746"/>
                    <a:pt x="5539" y="756"/>
                    <a:pt x="5512" y="769"/>
                  </a:cubicBezTo>
                  <a:cubicBezTo>
                    <a:pt x="5501" y="774"/>
                    <a:pt x="5489" y="776"/>
                    <a:pt x="5479" y="781"/>
                  </a:cubicBezTo>
                  <a:cubicBezTo>
                    <a:pt x="5443" y="799"/>
                    <a:pt x="5408" y="817"/>
                    <a:pt x="5375" y="835"/>
                  </a:cubicBezTo>
                  <a:lnTo>
                    <a:pt x="8" y="3954"/>
                  </a:lnTo>
                  <a:lnTo>
                    <a:pt x="1" y="7246"/>
                  </a:lnTo>
                  <a:lnTo>
                    <a:pt x="1" y="7246"/>
                  </a:lnTo>
                  <a:lnTo>
                    <a:pt x="5364" y="4126"/>
                  </a:lnTo>
                  <a:cubicBezTo>
                    <a:pt x="5397" y="4109"/>
                    <a:pt x="5433" y="4091"/>
                    <a:pt x="5471" y="4073"/>
                  </a:cubicBezTo>
                  <a:cubicBezTo>
                    <a:pt x="5481" y="4071"/>
                    <a:pt x="5491" y="4065"/>
                    <a:pt x="5501" y="4060"/>
                  </a:cubicBezTo>
                  <a:cubicBezTo>
                    <a:pt x="5529" y="4050"/>
                    <a:pt x="5557" y="4038"/>
                    <a:pt x="5585" y="4030"/>
                  </a:cubicBezTo>
                  <a:cubicBezTo>
                    <a:pt x="5598" y="4025"/>
                    <a:pt x="5610" y="4020"/>
                    <a:pt x="5623" y="4017"/>
                  </a:cubicBezTo>
                  <a:cubicBezTo>
                    <a:pt x="5638" y="4012"/>
                    <a:pt x="5656" y="4007"/>
                    <a:pt x="5674" y="4002"/>
                  </a:cubicBezTo>
                  <a:cubicBezTo>
                    <a:pt x="5689" y="3997"/>
                    <a:pt x="5707" y="3992"/>
                    <a:pt x="5722" y="3989"/>
                  </a:cubicBezTo>
                  <a:cubicBezTo>
                    <a:pt x="5740" y="3984"/>
                    <a:pt x="5757" y="3982"/>
                    <a:pt x="5775" y="3977"/>
                  </a:cubicBezTo>
                  <a:cubicBezTo>
                    <a:pt x="5790" y="3974"/>
                    <a:pt x="5806" y="3972"/>
                    <a:pt x="5821" y="3969"/>
                  </a:cubicBezTo>
                  <a:cubicBezTo>
                    <a:pt x="5864" y="3961"/>
                    <a:pt x="5905" y="3956"/>
                    <a:pt x="5945" y="3951"/>
                  </a:cubicBezTo>
                  <a:cubicBezTo>
                    <a:pt x="5955" y="3951"/>
                    <a:pt x="5963" y="3949"/>
                    <a:pt x="5973" y="3949"/>
                  </a:cubicBezTo>
                  <a:cubicBezTo>
                    <a:pt x="6001" y="3946"/>
                    <a:pt x="6031" y="3944"/>
                    <a:pt x="6059" y="3944"/>
                  </a:cubicBezTo>
                  <a:lnTo>
                    <a:pt x="6105" y="3944"/>
                  </a:lnTo>
                  <a:cubicBezTo>
                    <a:pt x="6125" y="3941"/>
                    <a:pt x="6145" y="3941"/>
                    <a:pt x="6168" y="3941"/>
                  </a:cubicBezTo>
                  <a:cubicBezTo>
                    <a:pt x="6184" y="3944"/>
                    <a:pt x="6201" y="3944"/>
                    <a:pt x="6217" y="3944"/>
                  </a:cubicBezTo>
                  <a:cubicBezTo>
                    <a:pt x="6237" y="3944"/>
                    <a:pt x="6255" y="3946"/>
                    <a:pt x="6272" y="3946"/>
                  </a:cubicBezTo>
                  <a:cubicBezTo>
                    <a:pt x="6290" y="3949"/>
                    <a:pt x="6305" y="3949"/>
                    <a:pt x="6323" y="3951"/>
                  </a:cubicBezTo>
                  <a:cubicBezTo>
                    <a:pt x="6341" y="3954"/>
                    <a:pt x="6361" y="3956"/>
                    <a:pt x="6379" y="3959"/>
                  </a:cubicBezTo>
                  <a:cubicBezTo>
                    <a:pt x="6394" y="3959"/>
                    <a:pt x="6409" y="3961"/>
                    <a:pt x="6424" y="3964"/>
                  </a:cubicBezTo>
                  <a:cubicBezTo>
                    <a:pt x="6445" y="3969"/>
                    <a:pt x="6465" y="3972"/>
                    <a:pt x="6485" y="3974"/>
                  </a:cubicBezTo>
                  <a:cubicBezTo>
                    <a:pt x="6501" y="3979"/>
                    <a:pt x="6516" y="3982"/>
                    <a:pt x="6528" y="3984"/>
                  </a:cubicBezTo>
                  <a:cubicBezTo>
                    <a:pt x="6554" y="3989"/>
                    <a:pt x="6577" y="3994"/>
                    <a:pt x="6599" y="4002"/>
                  </a:cubicBezTo>
                  <a:cubicBezTo>
                    <a:pt x="6612" y="4005"/>
                    <a:pt x="6622" y="4007"/>
                    <a:pt x="6635" y="4012"/>
                  </a:cubicBezTo>
                  <a:cubicBezTo>
                    <a:pt x="6676" y="4022"/>
                    <a:pt x="6714" y="4035"/>
                    <a:pt x="6752" y="4050"/>
                  </a:cubicBezTo>
                  <a:cubicBezTo>
                    <a:pt x="6769" y="4058"/>
                    <a:pt x="6787" y="4065"/>
                    <a:pt x="6805" y="4073"/>
                  </a:cubicBezTo>
                  <a:cubicBezTo>
                    <a:pt x="6815" y="4078"/>
                    <a:pt x="6823" y="4081"/>
                    <a:pt x="6833" y="4086"/>
                  </a:cubicBezTo>
                  <a:cubicBezTo>
                    <a:pt x="6858" y="4098"/>
                    <a:pt x="6886" y="4111"/>
                    <a:pt x="6909" y="4126"/>
                  </a:cubicBezTo>
                  <a:cubicBezTo>
                    <a:pt x="7013" y="4185"/>
                    <a:pt x="7099" y="4258"/>
                    <a:pt x="7157" y="4347"/>
                  </a:cubicBezTo>
                  <a:cubicBezTo>
                    <a:pt x="7408" y="4727"/>
                    <a:pt x="7801" y="5082"/>
                    <a:pt x="8334" y="5389"/>
                  </a:cubicBezTo>
                  <a:cubicBezTo>
                    <a:pt x="8395" y="5425"/>
                    <a:pt x="8458" y="5460"/>
                    <a:pt x="8522" y="5493"/>
                  </a:cubicBezTo>
                  <a:cubicBezTo>
                    <a:pt x="8542" y="5503"/>
                    <a:pt x="8565" y="5513"/>
                    <a:pt x="8585" y="5526"/>
                  </a:cubicBezTo>
                  <a:cubicBezTo>
                    <a:pt x="8628" y="5546"/>
                    <a:pt x="8671" y="5569"/>
                    <a:pt x="8717" y="5590"/>
                  </a:cubicBezTo>
                  <a:cubicBezTo>
                    <a:pt x="8742" y="5602"/>
                    <a:pt x="8768" y="5615"/>
                    <a:pt x="8796" y="5625"/>
                  </a:cubicBezTo>
                  <a:cubicBezTo>
                    <a:pt x="8836" y="5645"/>
                    <a:pt x="8877" y="5663"/>
                    <a:pt x="8917" y="5681"/>
                  </a:cubicBezTo>
                  <a:cubicBezTo>
                    <a:pt x="8945" y="5694"/>
                    <a:pt x="8976" y="5704"/>
                    <a:pt x="9004" y="5716"/>
                  </a:cubicBezTo>
                  <a:cubicBezTo>
                    <a:pt x="9029" y="5726"/>
                    <a:pt x="9052" y="5737"/>
                    <a:pt x="9077" y="5747"/>
                  </a:cubicBezTo>
                  <a:cubicBezTo>
                    <a:pt x="9087" y="5752"/>
                    <a:pt x="9100" y="5754"/>
                    <a:pt x="9110" y="5759"/>
                  </a:cubicBezTo>
                  <a:cubicBezTo>
                    <a:pt x="9201" y="5792"/>
                    <a:pt x="9290" y="5828"/>
                    <a:pt x="9384" y="5858"/>
                  </a:cubicBezTo>
                  <a:lnTo>
                    <a:pt x="9386" y="5858"/>
                  </a:lnTo>
                  <a:cubicBezTo>
                    <a:pt x="9480" y="5891"/>
                    <a:pt x="9577" y="5919"/>
                    <a:pt x="9670" y="5947"/>
                  </a:cubicBezTo>
                  <a:cubicBezTo>
                    <a:pt x="9683" y="5952"/>
                    <a:pt x="9693" y="5955"/>
                    <a:pt x="9703" y="5957"/>
                  </a:cubicBezTo>
                  <a:cubicBezTo>
                    <a:pt x="9724" y="5965"/>
                    <a:pt x="9747" y="5970"/>
                    <a:pt x="9767" y="5975"/>
                  </a:cubicBezTo>
                  <a:cubicBezTo>
                    <a:pt x="9818" y="5988"/>
                    <a:pt x="9866" y="6003"/>
                    <a:pt x="9916" y="6016"/>
                  </a:cubicBezTo>
                  <a:cubicBezTo>
                    <a:pt x="9952" y="6023"/>
                    <a:pt x="9987" y="6031"/>
                    <a:pt x="10023" y="6041"/>
                  </a:cubicBezTo>
                  <a:cubicBezTo>
                    <a:pt x="10074" y="6054"/>
                    <a:pt x="10124" y="6064"/>
                    <a:pt x="10175" y="6074"/>
                  </a:cubicBezTo>
                  <a:cubicBezTo>
                    <a:pt x="10198" y="6079"/>
                    <a:pt x="10221" y="6087"/>
                    <a:pt x="10241" y="6089"/>
                  </a:cubicBezTo>
                  <a:cubicBezTo>
                    <a:pt x="10256" y="6092"/>
                    <a:pt x="10269" y="6094"/>
                    <a:pt x="10284" y="6097"/>
                  </a:cubicBezTo>
                  <a:cubicBezTo>
                    <a:pt x="10327" y="6107"/>
                    <a:pt x="10373" y="6114"/>
                    <a:pt x="10416" y="6122"/>
                  </a:cubicBezTo>
                  <a:cubicBezTo>
                    <a:pt x="10457" y="6130"/>
                    <a:pt x="10495" y="6137"/>
                    <a:pt x="10533" y="6145"/>
                  </a:cubicBezTo>
                  <a:cubicBezTo>
                    <a:pt x="10578" y="6153"/>
                    <a:pt x="10624" y="6158"/>
                    <a:pt x="10670" y="6165"/>
                  </a:cubicBezTo>
                  <a:cubicBezTo>
                    <a:pt x="10698" y="6170"/>
                    <a:pt x="10725" y="6175"/>
                    <a:pt x="10753" y="6178"/>
                  </a:cubicBezTo>
                  <a:cubicBezTo>
                    <a:pt x="10763" y="6180"/>
                    <a:pt x="10774" y="6180"/>
                    <a:pt x="10786" y="6183"/>
                  </a:cubicBezTo>
                  <a:cubicBezTo>
                    <a:pt x="10827" y="6188"/>
                    <a:pt x="10870" y="6193"/>
                    <a:pt x="10911" y="6198"/>
                  </a:cubicBezTo>
                  <a:cubicBezTo>
                    <a:pt x="10954" y="6203"/>
                    <a:pt x="10994" y="6208"/>
                    <a:pt x="11035" y="6213"/>
                  </a:cubicBezTo>
                  <a:cubicBezTo>
                    <a:pt x="11078" y="6218"/>
                    <a:pt x="11119" y="6221"/>
                    <a:pt x="11162" y="6226"/>
                  </a:cubicBezTo>
                  <a:cubicBezTo>
                    <a:pt x="11192" y="6229"/>
                    <a:pt x="11223" y="6231"/>
                    <a:pt x="11253" y="6234"/>
                  </a:cubicBezTo>
                  <a:cubicBezTo>
                    <a:pt x="11266" y="6236"/>
                    <a:pt x="11276" y="6236"/>
                    <a:pt x="11286" y="6236"/>
                  </a:cubicBezTo>
                  <a:cubicBezTo>
                    <a:pt x="11329" y="6241"/>
                    <a:pt x="11372" y="6244"/>
                    <a:pt x="11415" y="6246"/>
                  </a:cubicBezTo>
                  <a:cubicBezTo>
                    <a:pt x="11456" y="6249"/>
                    <a:pt x="11496" y="6251"/>
                    <a:pt x="11540" y="6254"/>
                  </a:cubicBezTo>
                  <a:cubicBezTo>
                    <a:pt x="11583" y="6256"/>
                    <a:pt x="11626" y="6256"/>
                    <a:pt x="11669" y="6259"/>
                  </a:cubicBezTo>
                  <a:cubicBezTo>
                    <a:pt x="11699" y="6259"/>
                    <a:pt x="11730" y="6262"/>
                    <a:pt x="11763" y="6262"/>
                  </a:cubicBezTo>
                  <a:lnTo>
                    <a:pt x="11793" y="6262"/>
                  </a:lnTo>
                  <a:cubicBezTo>
                    <a:pt x="11839" y="6264"/>
                    <a:pt x="11887" y="6264"/>
                    <a:pt x="11935" y="6264"/>
                  </a:cubicBezTo>
                  <a:lnTo>
                    <a:pt x="12052" y="6264"/>
                  </a:lnTo>
                  <a:cubicBezTo>
                    <a:pt x="12100" y="6264"/>
                    <a:pt x="12148" y="6262"/>
                    <a:pt x="12199" y="6262"/>
                  </a:cubicBezTo>
                  <a:cubicBezTo>
                    <a:pt x="12229" y="6262"/>
                    <a:pt x="12260" y="6262"/>
                    <a:pt x="12293" y="6259"/>
                  </a:cubicBezTo>
                  <a:lnTo>
                    <a:pt x="12310" y="6259"/>
                  </a:lnTo>
                  <a:cubicBezTo>
                    <a:pt x="12387" y="6256"/>
                    <a:pt x="12465" y="6251"/>
                    <a:pt x="12544" y="6246"/>
                  </a:cubicBezTo>
                  <a:cubicBezTo>
                    <a:pt x="12556" y="6246"/>
                    <a:pt x="12567" y="6246"/>
                    <a:pt x="12579" y="6244"/>
                  </a:cubicBezTo>
                  <a:cubicBezTo>
                    <a:pt x="12668" y="6239"/>
                    <a:pt x="12759" y="6231"/>
                    <a:pt x="12848" y="6224"/>
                  </a:cubicBezTo>
                  <a:cubicBezTo>
                    <a:pt x="12851" y="6224"/>
                    <a:pt x="12856" y="6221"/>
                    <a:pt x="12861" y="6221"/>
                  </a:cubicBezTo>
                  <a:cubicBezTo>
                    <a:pt x="12873" y="6221"/>
                    <a:pt x="12889" y="6218"/>
                    <a:pt x="12901" y="6216"/>
                  </a:cubicBezTo>
                  <a:cubicBezTo>
                    <a:pt x="12985" y="6208"/>
                    <a:pt x="13069" y="6198"/>
                    <a:pt x="13152" y="6188"/>
                  </a:cubicBezTo>
                  <a:cubicBezTo>
                    <a:pt x="13183" y="6183"/>
                    <a:pt x="13213" y="6178"/>
                    <a:pt x="13244" y="6173"/>
                  </a:cubicBezTo>
                  <a:cubicBezTo>
                    <a:pt x="13320" y="6163"/>
                    <a:pt x="13398" y="6150"/>
                    <a:pt x="13474" y="6137"/>
                  </a:cubicBezTo>
                  <a:cubicBezTo>
                    <a:pt x="13490" y="6135"/>
                    <a:pt x="13510" y="6132"/>
                    <a:pt x="13525" y="6130"/>
                  </a:cubicBezTo>
                  <a:cubicBezTo>
                    <a:pt x="13535" y="6127"/>
                    <a:pt x="13543" y="6125"/>
                    <a:pt x="13551" y="6125"/>
                  </a:cubicBezTo>
                  <a:cubicBezTo>
                    <a:pt x="13594" y="6117"/>
                    <a:pt x="13637" y="6107"/>
                    <a:pt x="13680" y="6099"/>
                  </a:cubicBezTo>
                  <a:cubicBezTo>
                    <a:pt x="13718" y="6092"/>
                    <a:pt x="13756" y="6084"/>
                    <a:pt x="13794" y="6074"/>
                  </a:cubicBezTo>
                  <a:cubicBezTo>
                    <a:pt x="13837" y="6066"/>
                    <a:pt x="13880" y="6056"/>
                    <a:pt x="13921" y="6046"/>
                  </a:cubicBezTo>
                  <a:cubicBezTo>
                    <a:pt x="13959" y="6036"/>
                    <a:pt x="13997" y="6028"/>
                    <a:pt x="14035" y="6018"/>
                  </a:cubicBezTo>
                  <a:cubicBezTo>
                    <a:pt x="14075" y="6008"/>
                    <a:pt x="14119" y="5998"/>
                    <a:pt x="14159" y="5985"/>
                  </a:cubicBezTo>
                  <a:cubicBezTo>
                    <a:pt x="14197" y="5975"/>
                    <a:pt x="14235" y="5965"/>
                    <a:pt x="14271" y="5955"/>
                  </a:cubicBezTo>
                  <a:cubicBezTo>
                    <a:pt x="14311" y="5945"/>
                    <a:pt x="14354" y="5929"/>
                    <a:pt x="14395" y="5917"/>
                  </a:cubicBezTo>
                  <a:cubicBezTo>
                    <a:pt x="14425" y="5909"/>
                    <a:pt x="14458" y="5899"/>
                    <a:pt x="14489" y="5889"/>
                  </a:cubicBezTo>
                  <a:cubicBezTo>
                    <a:pt x="14491" y="5889"/>
                    <a:pt x="14496" y="5886"/>
                    <a:pt x="14499" y="5886"/>
                  </a:cubicBezTo>
                  <a:cubicBezTo>
                    <a:pt x="14595" y="5856"/>
                    <a:pt x="14689" y="5820"/>
                    <a:pt x="14780" y="5787"/>
                  </a:cubicBezTo>
                  <a:cubicBezTo>
                    <a:pt x="14803" y="5777"/>
                    <a:pt x="14826" y="5770"/>
                    <a:pt x="14851" y="5759"/>
                  </a:cubicBezTo>
                  <a:cubicBezTo>
                    <a:pt x="14925" y="5732"/>
                    <a:pt x="14999" y="5701"/>
                    <a:pt x="15070" y="5671"/>
                  </a:cubicBezTo>
                  <a:cubicBezTo>
                    <a:pt x="15092" y="5661"/>
                    <a:pt x="15113" y="5650"/>
                    <a:pt x="15135" y="5640"/>
                  </a:cubicBezTo>
                  <a:cubicBezTo>
                    <a:pt x="15224" y="5602"/>
                    <a:pt x="15310" y="5559"/>
                    <a:pt x="15394" y="5516"/>
                  </a:cubicBezTo>
                  <a:cubicBezTo>
                    <a:pt x="15409" y="5508"/>
                    <a:pt x="15425" y="5501"/>
                    <a:pt x="15442" y="5491"/>
                  </a:cubicBezTo>
                  <a:cubicBezTo>
                    <a:pt x="15511" y="5455"/>
                    <a:pt x="15579" y="5417"/>
                    <a:pt x="15648" y="5377"/>
                  </a:cubicBezTo>
                  <a:cubicBezTo>
                    <a:pt x="15660" y="5369"/>
                    <a:pt x="15673" y="5361"/>
                    <a:pt x="15686" y="5354"/>
                  </a:cubicBezTo>
                  <a:cubicBezTo>
                    <a:pt x="15714" y="5338"/>
                    <a:pt x="15739" y="5323"/>
                    <a:pt x="15764" y="5306"/>
                  </a:cubicBezTo>
                  <a:cubicBezTo>
                    <a:pt x="15820" y="5273"/>
                    <a:pt x="15873" y="5237"/>
                    <a:pt x="15924" y="5202"/>
                  </a:cubicBezTo>
                  <a:cubicBezTo>
                    <a:pt x="15942" y="5189"/>
                    <a:pt x="15960" y="5176"/>
                    <a:pt x="15977" y="5163"/>
                  </a:cubicBezTo>
                  <a:cubicBezTo>
                    <a:pt x="16010" y="5141"/>
                    <a:pt x="16043" y="5115"/>
                    <a:pt x="16076" y="5092"/>
                  </a:cubicBezTo>
                  <a:cubicBezTo>
                    <a:pt x="16094" y="5077"/>
                    <a:pt x="16112" y="5062"/>
                    <a:pt x="16132" y="5047"/>
                  </a:cubicBezTo>
                  <a:cubicBezTo>
                    <a:pt x="16160" y="5024"/>
                    <a:pt x="16188" y="5004"/>
                    <a:pt x="16216" y="4981"/>
                  </a:cubicBezTo>
                  <a:cubicBezTo>
                    <a:pt x="16234" y="4963"/>
                    <a:pt x="16251" y="4948"/>
                    <a:pt x="16272" y="4930"/>
                  </a:cubicBezTo>
                  <a:cubicBezTo>
                    <a:pt x="16292" y="4912"/>
                    <a:pt x="16315" y="4895"/>
                    <a:pt x="16335" y="4874"/>
                  </a:cubicBezTo>
                  <a:cubicBezTo>
                    <a:pt x="16338" y="4872"/>
                    <a:pt x="16340" y="4869"/>
                    <a:pt x="16343" y="4867"/>
                  </a:cubicBezTo>
                  <a:cubicBezTo>
                    <a:pt x="16396" y="4819"/>
                    <a:pt x="16447" y="4768"/>
                    <a:pt x="16492" y="4717"/>
                  </a:cubicBezTo>
                  <a:cubicBezTo>
                    <a:pt x="16505" y="4704"/>
                    <a:pt x="16515" y="4692"/>
                    <a:pt x="16528" y="4679"/>
                  </a:cubicBezTo>
                  <a:cubicBezTo>
                    <a:pt x="16563" y="4639"/>
                    <a:pt x="16599" y="4598"/>
                    <a:pt x="16632" y="4557"/>
                  </a:cubicBezTo>
                  <a:cubicBezTo>
                    <a:pt x="16639" y="4547"/>
                    <a:pt x="16647" y="4540"/>
                    <a:pt x="16655" y="4532"/>
                  </a:cubicBezTo>
                  <a:cubicBezTo>
                    <a:pt x="16660" y="4524"/>
                    <a:pt x="16665" y="4519"/>
                    <a:pt x="16667" y="4512"/>
                  </a:cubicBezTo>
                  <a:cubicBezTo>
                    <a:pt x="16695" y="4479"/>
                    <a:pt x="16718" y="4446"/>
                    <a:pt x="16741" y="4410"/>
                  </a:cubicBezTo>
                  <a:cubicBezTo>
                    <a:pt x="16751" y="4398"/>
                    <a:pt x="16761" y="4385"/>
                    <a:pt x="16771" y="4370"/>
                  </a:cubicBezTo>
                  <a:cubicBezTo>
                    <a:pt x="16802" y="4324"/>
                    <a:pt x="16832" y="4276"/>
                    <a:pt x="16860" y="4228"/>
                  </a:cubicBezTo>
                  <a:cubicBezTo>
                    <a:pt x="16860" y="4225"/>
                    <a:pt x="16860" y="4225"/>
                    <a:pt x="16860" y="4225"/>
                  </a:cubicBezTo>
                  <a:cubicBezTo>
                    <a:pt x="16865" y="4215"/>
                    <a:pt x="16870" y="4205"/>
                    <a:pt x="16875" y="4197"/>
                  </a:cubicBezTo>
                  <a:cubicBezTo>
                    <a:pt x="16895" y="4162"/>
                    <a:pt x="16913" y="4124"/>
                    <a:pt x="16931" y="4088"/>
                  </a:cubicBezTo>
                  <a:cubicBezTo>
                    <a:pt x="16939" y="4071"/>
                    <a:pt x="16946" y="4053"/>
                    <a:pt x="16954" y="4038"/>
                  </a:cubicBezTo>
                  <a:cubicBezTo>
                    <a:pt x="16966" y="4007"/>
                    <a:pt x="16979" y="3977"/>
                    <a:pt x="16992" y="3946"/>
                  </a:cubicBezTo>
                  <a:cubicBezTo>
                    <a:pt x="16994" y="3941"/>
                    <a:pt x="16997" y="3934"/>
                    <a:pt x="16999" y="3928"/>
                  </a:cubicBezTo>
                  <a:cubicBezTo>
                    <a:pt x="17005" y="3916"/>
                    <a:pt x="17007" y="3901"/>
                    <a:pt x="17012" y="3888"/>
                  </a:cubicBezTo>
                  <a:cubicBezTo>
                    <a:pt x="17022" y="3860"/>
                    <a:pt x="17032" y="3835"/>
                    <a:pt x="17040" y="3807"/>
                  </a:cubicBezTo>
                  <a:cubicBezTo>
                    <a:pt x="17045" y="3786"/>
                    <a:pt x="17050" y="3766"/>
                    <a:pt x="17058" y="3746"/>
                  </a:cubicBezTo>
                  <a:cubicBezTo>
                    <a:pt x="17063" y="3718"/>
                    <a:pt x="17070" y="3693"/>
                    <a:pt x="17076" y="3665"/>
                  </a:cubicBezTo>
                  <a:cubicBezTo>
                    <a:pt x="17078" y="3655"/>
                    <a:pt x="17081" y="3647"/>
                    <a:pt x="17083" y="3637"/>
                  </a:cubicBezTo>
                  <a:cubicBezTo>
                    <a:pt x="17086" y="3624"/>
                    <a:pt x="17086" y="3614"/>
                    <a:pt x="17088" y="3604"/>
                  </a:cubicBezTo>
                  <a:cubicBezTo>
                    <a:pt x="17093" y="3576"/>
                    <a:pt x="17098" y="3548"/>
                    <a:pt x="17101" y="3520"/>
                  </a:cubicBezTo>
                  <a:cubicBezTo>
                    <a:pt x="17103" y="3500"/>
                    <a:pt x="17106" y="3480"/>
                    <a:pt x="17108" y="3459"/>
                  </a:cubicBezTo>
                  <a:cubicBezTo>
                    <a:pt x="17111" y="3431"/>
                    <a:pt x="17114" y="3404"/>
                    <a:pt x="17114" y="3376"/>
                  </a:cubicBezTo>
                  <a:cubicBezTo>
                    <a:pt x="17116" y="3363"/>
                    <a:pt x="17116" y="3350"/>
                    <a:pt x="17119" y="3338"/>
                  </a:cubicBezTo>
                  <a:cubicBezTo>
                    <a:pt x="17119" y="3322"/>
                    <a:pt x="17119" y="3307"/>
                    <a:pt x="17119" y="3292"/>
                  </a:cubicBezTo>
                  <a:lnTo>
                    <a:pt x="17129" y="0"/>
                  </a:lnTo>
                  <a:close/>
                </a:path>
              </a:pathLst>
            </a:custGeom>
            <a:solidFill>
              <a:srgbClr val="BC600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5" name="Google Shape;1395;p49"/>
            <p:cNvSpPr/>
            <p:nvPr/>
          </p:nvSpPr>
          <p:spPr>
            <a:xfrm>
              <a:off x="1066850" y="2504238"/>
              <a:ext cx="1172591" cy="880870"/>
            </a:xfrm>
            <a:custGeom>
              <a:avLst/>
              <a:gdLst/>
              <a:ahLst/>
              <a:cxnLst/>
              <a:rect l="l" t="t" r="r" b="b"/>
              <a:pathLst>
                <a:path w="18912" h="14207" extrusionOk="0">
                  <a:moveTo>
                    <a:pt x="11" y="0"/>
                  </a:moveTo>
                  <a:lnTo>
                    <a:pt x="1" y="3294"/>
                  </a:lnTo>
                  <a:lnTo>
                    <a:pt x="18904" y="14207"/>
                  </a:lnTo>
                  <a:lnTo>
                    <a:pt x="18911" y="10915"/>
                  </a:lnTo>
                  <a:lnTo>
                    <a:pt x="11" y="0"/>
                  </a:lnTo>
                  <a:close/>
                </a:path>
              </a:pathLst>
            </a:custGeom>
            <a:solidFill>
              <a:srgbClr val="B6770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6" name="Google Shape;1396;p49"/>
            <p:cNvSpPr/>
            <p:nvPr/>
          </p:nvSpPr>
          <p:spPr>
            <a:xfrm>
              <a:off x="4220247" y="2751258"/>
              <a:ext cx="248010" cy="412627"/>
            </a:xfrm>
            <a:custGeom>
              <a:avLst/>
              <a:gdLst/>
              <a:ahLst/>
              <a:cxnLst/>
              <a:rect l="l" t="t" r="r" b="b"/>
              <a:pathLst>
                <a:path w="4000" h="6655" extrusionOk="0">
                  <a:moveTo>
                    <a:pt x="4000" y="0"/>
                  </a:moveTo>
                  <a:lnTo>
                    <a:pt x="4000" y="26"/>
                  </a:lnTo>
                  <a:lnTo>
                    <a:pt x="4000" y="26"/>
                  </a:lnTo>
                  <a:cubicBezTo>
                    <a:pt x="4000" y="18"/>
                    <a:pt x="4000" y="9"/>
                    <a:pt x="4000" y="0"/>
                  </a:cubicBezTo>
                  <a:close/>
                  <a:moveTo>
                    <a:pt x="4000" y="26"/>
                  </a:moveTo>
                  <a:lnTo>
                    <a:pt x="4000" y="26"/>
                  </a:lnTo>
                  <a:cubicBezTo>
                    <a:pt x="4000" y="48"/>
                    <a:pt x="3999" y="70"/>
                    <a:pt x="3997" y="91"/>
                  </a:cubicBezTo>
                  <a:cubicBezTo>
                    <a:pt x="3995" y="117"/>
                    <a:pt x="3995" y="142"/>
                    <a:pt x="3992" y="167"/>
                  </a:cubicBezTo>
                  <a:cubicBezTo>
                    <a:pt x="3990" y="190"/>
                    <a:pt x="3987" y="213"/>
                    <a:pt x="3982" y="236"/>
                  </a:cubicBezTo>
                  <a:cubicBezTo>
                    <a:pt x="3979" y="261"/>
                    <a:pt x="3974" y="287"/>
                    <a:pt x="3972" y="315"/>
                  </a:cubicBezTo>
                  <a:cubicBezTo>
                    <a:pt x="3967" y="335"/>
                    <a:pt x="3962" y="358"/>
                    <a:pt x="3957" y="380"/>
                  </a:cubicBezTo>
                  <a:cubicBezTo>
                    <a:pt x="3952" y="406"/>
                    <a:pt x="3944" y="431"/>
                    <a:pt x="3939" y="457"/>
                  </a:cubicBezTo>
                  <a:cubicBezTo>
                    <a:pt x="3931" y="479"/>
                    <a:pt x="3926" y="502"/>
                    <a:pt x="3919" y="525"/>
                  </a:cubicBezTo>
                  <a:cubicBezTo>
                    <a:pt x="3911" y="550"/>
                    <a:pt x="3903" y="576"/>
                    <a:pt x="3893" y="599"/>
                  </a:cubicBezTo>
                  <a:cubicBezTo>
                    <a:pt x="3886" y="621"/>
                    <a:pt x="3878" y="644"/>
                    <a:pt x="3868" y="667"/>
                  </a:cubicBezTo>
                  <a:cubicBezTo>
                    <a:pt x="3858" y="692"/>
                    <a:pt x="3848" y="718"/>
                    <a:pt x="3835" y="743"/>
                  </a:cubicBezTo>
                  <a:cubicBezTo>
                    <a:pt x="3825" y="766"/>
                    <a:pt x="3815" y="789"/>
                    <a:pt x="3805" y="809"/>
                  </a:cubicBezTo>
                  <a:cubicBezTo>
                    <a:pt x="3792" y="834"/>
                    <a:pt x="3779" y="862"/>
                    <a:pt x="3764" y="888"/>
                  </a:cubicBezTo>
                  <a:cubicBezTo>
                    <a:pt x="3754" y="908"/>
                    <a:pt x="3741" y="928"/>
                    <a:pt x="3731" y="949"/>
                  </a:cubicBezTo>
                  <a:cubicBezTo>
                    <a:pt x="3713" y="979"/>
                    <a:pt x="3693" y="1009"/>
                    <a:pt x="3673" y="1040"/>
                  </a:cubicBezTo>
                  <a:cubicBezTo>
                    <a:pt x="3662" y="1060"/>
                    <a:pt x="3650" y="1078"/>
                    <a:pt x="3637" y="1096"/>
                  </a:cubicBezTo>
                  <a:cubicBezTo>
                    <a:pt x="3614" y="1129"/>
                    <a:pt x="3589" y="1164"/>
                    <a:pt x="3566" y="1197"/>
                  </a:cubicBezTo>
                  <a:cubicBezTo>
                    <a:pt x="3553" y="1210"/>
                    <a:pt x="3543" y="1225"/>
                    <a:pt x="3533" y="1240"/>
                  </a:cubicBezTo>
                  <a:cubicBezTo>
                    <a:pt x="3490" y="1291"/>
                    <a:pt x="3447" y="1344"/>
                    <a:pt x="3399" y="1395"/>
                  </a:cubicBezTo>
                  <a:cubicBezTo>
                    <a:pt x="3386" y="1408"/>
                    <a:pt x="3373" y="1423"/>
                    <a:pt x="3361" y="1435"/>
                  </a:cubicBezTo>
                  <a:cubicBezTo>
                    <a:pt x="3323" y="1473"/>
                    <a:pt x="3285" y="1512"/>
                    <a:pt x="3244" y="1552"/>
                  </a:cubicBezTo>
                  <a:cubicBezTo>
                    <a:pt x="3226" y="1567"/>
                    <a:pt x="3206" y="1585"/>
                    <a:pt x="3188" y="1603"/>
                  </a:cubicBezTo>
                  <a:cubicBezTo>
                    <a:pt x="3163" y="1626"/>
                    <a:pt x="3138" y="1646"/>
                    <a:pt x="3112" y="1669"/>
                  </a:cubicBezTo>
                  <a:cubicBezTo>
                    <a:pt x="3089" y="1689"/>
                    <a:pt x="3067" y="1707"/>
                    <a:pt x="3041" y="1727"/>
                  </a:cubicBezTo>
                  <a:cubicBezTo>
                    <a:pt x="3016" y="1750"/>
                    <a:pt x="2988" y="1770"/>
                    <a:pt x="2963" y="1790"/>
                  </a:cubicBezTo>
                  <a:cubicBezTo>
                    <a:pt x="2937" y="1811"/>
                    <a:pt x="2912" y="1829"/>
                    <a:pt x="2884" y="1849"/>
                  </a:cubicBezTo>
                  <a:cubicBezTo>
                    <a:pt x="2856" y="1869"/>
                    <a:pt x="2828" y="1889"/>
                    <a:pt x="2798" y="1910"/>
                  </a:cubicBezTo>
                  <a:cubicBezTo>
                    <a:pt x="2770" y="1927"/>
                    <a:pt x="2744" y="1948"/>
                    <a:pt x="2714" y="1965"/>
                  </a:cubicBezTo>
                  <a:cubicBezTo>
                    <a:pt x="2684" y="1986"/>
                    <a:pt x="2653" y="2003"/>
                    <a:pt x="2623" y="2024"/>
                  </a:cubicBezTo>
                  <a:cubicBezTo>
                    <a:pt x="2582" y="2049"/>
                    <a:pt x="2544" y="2074"/>
                    <a:pt x="2501" y="2097"/>
                  </a:cubicBezTo>
                  <a:cubicBezTo>
                    <a:pt x="2422" y="2143"/>
                    <a:pt x="2341" y="2186"/>
                    <a:pt x="2260" y="2229"/>
                  </a:cubicBezTo>
                  <a:cubicBezTo>
                    <a:pt x="2235" y="2242"/>
                    <a:pt x="2209" y="2255"/>
                    <a:pt x="2184" y="2265"/>
                  </a:cubicBezTo>
                  <a:cubicBezTo>
                    <a:pt x="2123" y="2295"/>
                    <a:pt x="2062" y="2326"/>
                    <a:pt x="1999" y="2353"/>
                  </a:cubicBezTo>
                  <a:cubicBezTo>
                    <a:pt x="1971" y="2366"/>
                    <a:pt x="1946" y="2376"/>
                    <a:pt x="1920" y="2389"/>
                  </a:cubicBezTo>
                  <a:cubicBezTo>
                    <a:pt x="1839" y="2422"/>
                    <a:pt x="1755" y="2457"/>
                    <a:pt x="1672" y="2488"/>
                  </a:cubicBezTo>
                  <a:cubicBezTo>
                    <a:pt x="1667" y="2490"/>
                    <a:pt x="1662" y="2493"/>
                    <a:pt x="1654" y="2495"/>
                  </a:cubicBezTo>
                  <a:cubicBezTo>
                    <a:pt x="1565" y="2528"/>
                    <a:pt x="1474" y="2561"/>
                    <a:pt x="1380" y="2592"/>
                  </a:cubicBezTo>
                  <a:cubicBezTo>
                    <a:pt x="1355" y="2599"/>
                    <a:pt x="1327" y="2607"/>
                    <a:pt x="1299" y="2615"/>
                  </a:cubicBezTo>
                  <a:cubicBezTo>
                    <a:pt x="1228" y="2637"/>
                    <a:pt x="1157" y="2660"/>
                    <a:pt x="1083" y="2681"/>
                  </a:cubicBezTo>
                  <a:cubicBezTo>
                    <a:pt x="1056" y="2688"/>
                    <a:pt x="1028" y="2696"/>
                    <a:pt x="997" y="2703"/>
                  </a:cubicBezTo>
                  <a:cubicBezTo>
                    <a:pt x="901" y="2729"/>
                    <a:pt x="802" y="2754"/>
                    <a:pt x="703" y="2774"/>
                  </a:cubicBezTo>
                  <a:cubicBezTo>
                    <a:pt x="655" y="2787"/>
                    <a:pt x="607" y="2800"/>
                    <a:pt x="564" y="2812"/>
                  </a:cubicBezTo>
                  <a:cubicBezTo>
                    <a:pt x="561" y="2815"/>
                    <a:pt x="558" y="2815"/>
                    <a:pt x="556" y="2815"/>
                  </a:cubicBezTo>
                  <a:cubicBezTo>
                    <a:pt x="553" y="2815"/>
                    <a:pt x="553" y="2818"/>
                    <a:pt x="551" y="2818"/>
                  </a:cubicBezTo>
                  <a:cubicBezTo>
                    <a:pt x="510" y="2830"/>
                    <a:pt x="472" y="2845"/>
                    <a:pt x="437" y="2861"/>
                  </a:cubicBezTo>
                  <a:cubicBezTo>
                    <a:pt x="432" y="2863"/>
                    <a:pt x="424" y="2866"/>
                    <a:pt x="419" y="2868"/>
                  </a:cubicBezTo>
                  <a:cubicBezTo>
                    <a:pt x="386" y="2883"/>
                    <a:pt x="353" y="2901"/>
                    <a:pt x="323" y="2919"/>
                  </a:cubicBezTo>
                  <a:cubicBezTo>
                    <a:pt x="320" y="2922"/>
                    <a:pt x="315" y="2922"/>
                    <a:pt x="312" y="2924"/>
                  </a:cubicBezTo>
                  <a:cubicBezTo>
                    <a:pt x="310" y="2927"/>
                    <a:pt x="307" y="2929"/>
                    <a:pt x="305" y="2929"/>
                  </a:cubicBezTo>
                  <a:cubicBezTo>
                    <a:pt x="285" y="2942"/>
                    <a:pt x="267" y="2954"/>
                    <a:pt x="249" y="2967"/>
                  </a:cubicBezTo>
                  <a:cubicBezTo>
                    <a:pt x="244" y="2970"/>
                    <a:pt x="241" y="2972"/>
                    <a:pt x="239" y="2975"/>
                  </a:cubicBezTo>
                  <a:cubicBezTo>
                    <a:pt x="219" y="2990"/>
                    <a:pt x="201" y="3005"/>
                    <a:pt x="183" y="3020"/>
                  </a:cubicBezTo>
                  <a:cubicBezTo>
                    <a:pt x="181" y="3023"/>
                    <a:pt x="178" y="3023"/>
                    <a:pt x="178" y="3025"/>
                  </a:cubicBezTo>
                  <a:cubicBezTo>
                    <a:pt x="176" y="3025"/>
                    <a:pt x="173" y="3028"/>
                    <a:pt x="170" y="3031"/>
                  </a:cubicBezTo>
                  <a:cubicBezTo>
                    <a:pt x="148" y="3051"/>
                    <a:pt x="127" y="3074"/>
                    <a:pt x="110" y="3096"/>
                  </a:cubicBezTo>
                  <a:cubicBezTo>
                    <a:pt x="107" y="3099"/>
                    <a:pt x="107" y="3102"/>
                    <a:pt x="105" y="3102"/>
                  </a:cubicBezTo>
                  <a:cubicBezTo>
                    <a:pt x="92" y="3119"/>
                    <a:pt x="79" y="3137"/>
                    <a:pt x="69" y="3157"/>
                  </a:cubicBezTo>
                  <a:cubicBezTo>
                    <a:pt x="69" y="3160"/>
                    <a:pt x="66" y="3162"/>
                    <a:pt x="64" y="3165"/>
                  </a:cubicBezTo>
                  <a:cubicBezTo>
                    <a:pt x="64" y="3165"/>
                    <a:pt x="61" y="3167"/>
                    <a:pt x="61" y="3170"/>
                  </a:cubicBezTo>
                  <a:cubicBezTo>
                    <a:pt x="51" y="3188"/>
                    <a:pt x="41" y="3208"/>
                    <a:pt x="36" y="3226"/>
                  </a:cubicBezTo>
                  <a:cubicBezTo>
                    <a:pt x="36" y="3226"/>
                    <a:pt x="34" y="3226"/>
                    <a:pt x="34" y="3228"/>
                  </a:cubicBezTo>
                  <a:cubicBezTo>
                    <a:pt x="34" y="3228"/>
                    <a:pt x="34" y="3231"/>
                    <a:pt x="34" y="3231"/>
                  </a:cubicBezTo>
                  <a:cubicBezTo>
                    <a:pt x="28" y="3249"/>
                    <a:pt x="23" y="3266"/>
                    <a:pt x="18" y="3282"/>
                  </a:cubicBezTo>
                  <a:cubicBezTo>
                    <a:pt x="18" y="3284"/>
                    <a:pt x="18" y="3287"/>
                    <a:pt x="16" y="3289"/>
                  </a:cubicBezTo>
                  <a:cubicBezTo>
                    <a:pt x="16" y="3292"/>
                    <a:pt x="16" y="3297"/>
                    <a:pt x="16" y="3299"/>
                  </a:cubicBezTo>
                  <a:cubicBezTo>
                    <a:pt x="13" y="3315"/>
                    <a:pt x="11" y="3327"/>
                    <a:pt x="11" y="3342"/>
                  </a:cubicBezTo>
                  <a:cubicBezTo>
                    <a:pt x="11" y="3348"/>
                    <a:pt x="11" y="3350"/>
                    <a:pt x="8" y="3353"/>
                  </a:cubicBezTo>
                  <a:cubicBezTo>
                    <a:pt x="8" y="3355"/>
                    <a:pt x="8" y="3360"/>
                    <a:pt x="8" y="3363"/>
                  </a:cubicBezTo>
                  <a:lnTo>
                    <a:pt x="1" y="6634"/>
                  </a:lnTo>
                  <a:lnTo>
                    <a:pt x="1" y="6634"/>
                  </a:lnTo>
                  <a:cubicBezTo>
                    <a:pt x="3" y="6621"/>
                    <a:pt x="3" y="6606"/>
                    <a:pt x="6" y="6591"/>
                  </a:cubicBezTo>
                  <a:cubicBezTo>
                    <a:pt x="8" y="6586"/>
                    <a:pt x="8" y="6581"/>
                    <a:pt x="8" y="6576"/>
                  </a:cubicBezTo>
                  <a:cubicBezTo>
                    <a:pt x="13" y="6558"/>
                    <a:pt x="18" y="6540"/>
                    <a:pt x="23" y="6523"/>
                  </a:cubicBezTo>
                  <a:cubicBezTo>
                    <a:pt x="23" y="6523"/>
                    <a:pt x="26" y="6520"/>
                    <a:pt x="26" y="6517"/>
                  </a:cubicBezTo>
                  <a:cubicBezTo>
                    <a:pt x="34" y="6500"/>
                    <a:pt x="41" y="6482"/>
                    <a:pt x="51" y="6462"/>
                  </a:cubicBezTo>
                  <a:cubicBezTo>
                    <a:pt x="54" y="6457"/>
                    <a:pt x="56" y="6454"/>
                    <a:pt x="59" y="6449"/>
                  </a:cubicBezTo>
                  <a:cubicBezTo>
                    <a:pt x="72" y="6431"/>
                    <a:pt x="82" y="6411"/>
                    <a:pt x="97" y="6393"/>
                  </a:cubicBezTo>
                  <a:cubicBezTo>
                    <a:pt x="97" y="6393"/>
                    <a:pt x="99" y="6391"/>
                    <a:pt x="99" y="6388"/>
                  </a:cubicBezTo>
                  <a:cubicBezTo>
                    <a:pt x="120" y="6365"/>
                    <a:pt x="140" y="6345"/>
                    <a:pt x="163" y="6322"/>
                  </a:cubicBezTo>
                  <a:cubicBezTo>
                    <a:pt x="165" y="6320"/>
                    <a:pt x="168" y="6315"/>
                    <a:pt x="173" y="6312"/>
                  </a:cubicBezTo>
                  <a:cubicBezTo>
                    <a:pt x="191" y="6297"/>
                    <a:pt x="209" y="6282"/>
                    <a:pt x="229" y="6266"/>
                  </a:cubicBezTo>
                  <a:cubicBezTo>
                    <a:pt x="231" y="6264"/>
                    <a:pt x="236" y="6261"/>
                    <a:pt x="239" y="6259"/>
                  </a:cubicBezTo>
                  <a:cubicBezTo>
                    <a:pt x="257" y="6246"/>
                    <a:pt x="274" y="6233"/>
                    <a:pt x="295" y="6221"/>
                  </a:cubicBezTo>
                  <a:cubicBezTo>
                    <a:pt x="300" y="6218"/>
                    <a:pt x="307" y="6216"/>
                    <a:pt x="312" y="6211"/>
                  </a:cubicBezTo>
                  <a:cubicBezTo>
                    <a:pt x="343" y="6193"/>
                    <a:pt x="376" y="6175"/>
                    <a:pt x="411" y="6160"/>
                  </a:cubicBezTo>
                  <a:cubicBezTo>
                    <a:pt x="416" y="6157"/>
                    <a:pt x="422" y="6155"/>
                    <a:pt x="427" y="6155"/>
                  </a:cubicBezTo>
                  <a:cubicBezTo>
                    <a:pt x="462" y="6137"/>
                    <a:pt x="503" y="6122"/>
                    <a:pt x="543" y="6109"/>
                  </a:cubicBezTo>
                  <a:cubicBezTo>
                    <a:pt x="546" y="6107"/>
                    <a:pt x="551" y="6107"/>
                    <a:pt x="553" y="6107"/>
                  </a:cubicBezTo>
                  <a:cubicBezTo>
                    <a:pt x="599" y="6091"/>
                    <a:pt x="645" y="6079"/>
                    <a:pt x="695" y="6066"/>
                  </a:cubicBezTo>
                  <a:cubicBezTo>
                    <a:pt x="794" y="6046"/>
                    <a:pt x="891" y="6020"/>
                    <a:pt x="990" y="5995"/>
                  </a:cubicBezTo>
                  <a:cubicBezTo>
                    <a:pt x="1017" y="5987"/>
                    <a:pt x="1045" y="5980"/>
                    <a:pt x="1073" y="5972"/>
                  </a:cubicBezTo>
                  <a:cubicBezTo>
                    <a:pt x="1147" y="5952"/>
                    <a:pt x="1218" y="5929"/>
                    <a:pt x="1291" y="5909"/>
                  </a:cubicBezTo>
                  <a:cubicBezTo>
                    <a:pt x="1309" y="5904"/>
                    <a:pt x="1327" y="5899"/>
                    <a:pt x="1342" y="5894"/>
                  </a:cubicBezTo>
                  <a:cubicBezTo>
                    <a:pt x="1352" y="5889"/>
                    <a:pt x="1362" y="5886"/>
                    <a:pt x="1370" y="5884"/>
                  </a:cubicBezTo>
                  <a:cubicBezTo>
                    <a:pt x="1464" y="5853"/>
                    <a:pt x="1555" y="5820"/>
                    <a:pt x="1644" y="5787"/>
                  </a:cubicBezTo>
                  <a:cubicBezTo>
                    <a:pt x="1651" y="5785"/>
                    <a:pt x="1657" y="5782"/>
                    <a:pt x="1664" y="5780"/>
                  </a:cubicBezTo>
                  <a:cubicBezTo>
                    <a:pt x="1748" y="5749"/>
                    <a:pt x="1829" y="5716"/>
                    <a:pt x="1910" y="5681"/>
                  </a:cubicBezTo>
                  <a:cubicBezTo>
                    <a:pt x="1935" y="5668"/>
                    <a:pt x="1963" y="5658"/>
                    <a:pt x="1989" y="5645"/>
                  </a:cubicBezTo>
                  <a:cubicBezTo>
                    <a:pt x="2052" y="5617"/>
                    <a:pt x="2113" y="5589"/>
                    <a:pt x="2176" y="5559"/>
                  </a:cubicBezTo>
                  <a:cubicBezTo>
                    <a:pt x="2199" y="5546"/>
                    <a:pt x="2225" y="5534"/>
                    <a:pt x="2250" y="5521"/>
                  </a:cubicBezTo>
                  <a:cubicBezTo>
                    <a:pt x="2334" y="5478"/>
                    <a:pt x="2415" y="5435"/>
                    <a:pt x="2493" y="5389"/>
                  </a:cubicBezTo>
                  <a:cubicBezTo>
                    <a:pt x="2514" y="5376"/>
                    <a:pt x="2534" y="5364"/>
                    <a:pt x="2557" y="5353"/>
                  </a:cubicBezTo>
                  <a:cubicBezTo>
                    <a:pt x="2575" y="5341"/>
                    <a:pt x="2592" y="5328"/>
                    <a:pt x="2613" y="5315"/>
                  </a:cubicBezTo>
                  <a:cubicBezTo>
                    <a:pt x="2643" y="5298"/>
                    <a:pt x="2676" y="5277"/>
                    <a:pt x="2706" y="5257"/>
                  </a:cubicBezTo>
                  <a:cubicBezTo>
                    <a:pt x="2734" y="5239"/>
                    <a:pt x="2762" y="5219"/>
                    <a:pt x="2788" y="5201"/>
                  </a:cubicBezTo>
                  <a:cubicBezTo>
                    <a:pt x="2818" y="5181"/>
                    <a:pt x="2846" y="5161"/>
                    <a:pt x="2876" y="5140"/>
                  </a:cubicBezTo>
                  <a:cubicBezTo>
                    <a:pt x="2902" y="5120"/>
                    <a:pt x="2927" y="5102"/>
                    <a:pt x="2952" y="5082"/>
                  </a:cubicBezTo>
                  <a:cubicBezTo>
                    <a:pt x="2980" y="5062"/>
                    <a:pt x="3006" y="5042"/>
                    <a:pt x="3034" y="5019"/>
                  </a:cubicBezTo>
                  <a:cubicBezTo>
                    <a:pt x="3056" y="5001"/>
                    <a:pt x="3082" y="4981"/>
                    <a:pt x="3105" y="4960"/>
                  </a:cubicBezTo>
                  <a:cubicBezTo>
                    <a:pt x="3130" y="4938"/>
                    <a:pt x="3155" y="4917"/>
                    <a:pt x="3178" y="4894"/>
                  </a:cubicBezTo>
                  <a:cubicBezTo>
                    <a:pt x="3188" y="4887"/>
                    <a:pt x="3198" y="4877"/>
                    <a:pt x="3209" y="4869"/>
                  </a:cubicBezTo>
                  <a:cubicBezTo>
                    <a:pt x="3219" y="4862"/>
                    <a:pt x="3226" y="4851"/>
                    <a:pt x="3234" y="4844"/>
                  </a:cubicBezTo>
                  <a:cubicBezTo>
                    <a:pt x="3274" y="4806"/>
                    <a:pt x="3315" y="4765"/>
                    <a:pt x="3351" y="4727"/>
                  </a:cubicBezTo>
                  <a:cubicBezTo>
                    <a:pt x="3363" y="4714"/>
                    <a:pt x="3376" y="4702"/>
                    <a:pt x="3389" y="4687"/>
                  </a:cubicBezTo>
                  <a:cubicBezTo>
                    <a:pt x="3437" y="4636"/>
                    <a:pt x="3482" y="4585"/>
                    <a:pt x="3523" y="4532"/>
                  </a:cubicBezTo>
                  <a:cubicBezTo>
                    <a:pt x="3526" y="4529"/>
                    <a:pt x="3528" y="4527"/>
                    <a:pt x="3528" y="4524"/>
                  </a:cubicBezTo>
                  <a:cubicBezTo>
                    <a:pt x="3538" y="4512"/>
                    <a:pt x="3546" y="4499"/>
                    <a:pt x="3556" y="4489"/>
                  </a:cubicBezTo>
                  <a:cubicBezTo>
                    <a:pt x="3581" y="4456"/>
                    <a:pt x="3604" y="4423"/>
                    <a:pt x="3630" y="4387"/>
                  </a:cubicBezTo>
                  <a:cubicBezTo>
                    <a:pt x="3642" y="4370"/>
                    <a:pt x="3652" y="4352"/>
                    <a:pt x="3665" y="4334"/>
                  </a:cubicBezTo>
                  <a:cubicBezTo>
                    <a:pt x="3683" y="4304"/>
                    <a:pt x="3703" y="4273"/>
                    <a:pt x="3721" y="4243"/>
                  </a:cubicBezTo>
                  <a:cubicBezTo>
                    <a:pt x="3726" y="4233"/>
                    <a:pt x="3731" y="4225"/>
                    <a:pt x="3736" y="4217"/>
                  </a:cubicBezTo>
                  <a:cubicBezTo>
                    <a:pt x="3744" y="4205"/>
                    <a:pt x="3749" y="4192"/>
                    <a:pt x="3756" y="4179"/>
                  </a:cubicBezTo>
                  <a:cubicBezTo>
                    <a:pt x="3769" y="4154"/>
                    <a:pt x="3784" y="4129"/>
                    <a:pt x="3794" y="4101"/>
                  </a:cubicBezTo>
                  <a:cubicBezTo>
                    <a:pt x="3807" y="4080"/>
                    <a:pt x="3817" y="4058"/>
                    <a:pt x="3827" y="4037"/>
                  </a:cubicBezTo>
                  <a:cubicBezTo>
                    <a:pt x="3837" y="4009"/>
                    <a:pt x="3848" y="3984"/>
                    <a:pt x="3858" y="3959"/>
                  </a:cubicBezTo>
                  <a:cubicBezTo>
                    <a:pt x="3863" y="3946"/>
                    <a:pt x="3870" y="3936"/>
                    <a:pt x="3873" y="3923"/>
                  </a:cubicBezTo>
                  <a:cubicBezTo>
                    <a:pt x="3878" y="3913"/>
                    <a:pt x="3881" y="3903"/>
                    <a:pt x="3883" y="3893"/>
                  </a:cubicBezTo>
                  <a:cubicBezTo>
                    <a:pt x="3893" y="3867"/>
                    <a:pt x="3901" y="3842"/>
                    <a:pt x="3908" y="3817"/>
                  </a:cubicBezTo>
                  <a:cubicBezTo>
                    <a:pt x="3916" y="3794"/>
                    <a:pt x="3924" y="3771"/>
                    <a:pt x="3929" y="3748"/>
                  </a:cubicBezTo>
                  <a:cubicBezTo>
                    <a:pt x="3936" y="3723"/>
                    <a:pt x="3941" y="3700"/>
                    <a:pt x="3947" y="3675"/>
                  </a:cubicBezTo>
                  <a:cubicBezTo>
                    <a:pt x="3949" y="3659"/>
                    <a:pt x="3954" y="3647"/>
                    <a:pt x="3957" y="3634"/>
                  </a:cubicBezTo>
                  <a:cubicBezTo>
                    <a:pt x="3959" y="3624"/>
                    <a:pt x="3959" y="3614"/>
                    <a:pt x="3962" y="3606"/>
                  </a:cubicBezTo>
                  <a:cubicBezTo>
                    <a:pt x="3967" y="3581"/>
                    <a:pt x="3969" y="3553"/>
                    <a:pt x="3974" y="3528"/>
                  </a:cubicBezTo>
                  <a:cubicBezTo>
                    <a:pt x="3977" y="3505"/>
                    <a:pt x="3979" y="3482"/>
                    <a:pt x="3982" y="3462"/>
                  </a:cubicBezTo>
                  <a:cubicBezTo>
                    <a:pt x="3985" y="3434"/>
                    <a:pt x="3987" y="3408"/>
                    <a:pt x="3987" y="3383"/>
                  </a:cubicBezTo>
                  <a:cubicBezTo>
                    <a:pt x="3990" y="3368"/>
                    <a:pt x="3990" y="3353"/>
                    <a:pt x="3990" y="3337"/>
                  </a:cubicBezTo>
                  <a:cubicBezTo>
                    <a:pt x="3992" y="3322"/>
                    <a:pt x="3992" y="3307"/>
                    <a:pt x="3992" y="3292"/>
                  </a:cubicBezTo>
                  <a:lnTo>
                    <a:pt x="4000" y="26"/>
                  </a:lnTo>
                  <a:close/>
                  <a:moveTo>
                    <a:pt x="1" y="6634"/>
                  </a:moveTo>
                  <a:cubicBezTo>
                    <a:pt x="1" y="6634"/>
                    <a:pt x="1" y="6634"/>
                    <a:pt x="1" y="6634"/>
                  </a:cubicBezTo>
                  <a:cubicBezTo>
                    <a:pt x="1" y="6642"/>
                    <a:pt x="1" y="6649"/>
                    <a:pt x="1" y="6654"/>
                  </a:cubicBezTo>
                  <a:lnTo>
                    <a:pt x="1" y="6634"/>
                  </a:lnTo>
                  <a:close/>
                </a:path>
              </a:pathLst>
            </a:custGeom>
            <a:solidFill>
              <a:srgbClr val="3E3E4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7" name="Google Shape;1397;p49"/>
            <p:cNvSpPr/>
            <p:nvPr/>
          </p:nvSpPr>
          <p:spPr>
            <a:xfrm>
              <a:off x="2239383" y="2504362"/>
              <a:ext cx="2336254" cy="1353267"/>
            </a:xfrm>
            <a:custGeom>
              <a:avLst/>
              <a:gdLst/>
              <a:ahLst/>
              <a:cxnLst/>
              <a:rect l="l" t="t" r="r" b="b"/>
              <a:pathLst>
                <a:path w="37680" h="21826" extrusionOk="0">
                  <a:moveTo>
                    <a:pt x="18779" y="1"/>
                  </a:moveTo>
                  <a:lnTo>
                    <a:pt x="13357" y="3150"/>
                  </a:lnTo>
                  <a:cubicBezTo>
                    <a:pt x="12974" y="3409"/>
                    <a:pt x="13023" y="3787"/>
                    <a:pt x="13411" y="4010"/>
                  </a:cubicBezTo>
                  <a:cubicBezTo>
                    <a:pt x="13515" y="4071"/>
                    <a:pt x="13639" y="4119"/>
                    <a:pt x="13789" y="4152"/>
                  </a:cubicBezTo>
                  <a:cubicBezTo>
                    <a:pt x="14448" y="4297"/>
                    <a:pt x="15067" y="4522"/>
                    <a:pt x="15599" y="4829"/>
                  </a:cubicBezTo>
                  <a:cubicBezTo>
                    <a:pt x="15665" y="4867"/>
                    <a:pt x="15729" y="4908"/>
                    <a:pt x="15792" y="4946"/>
                  </a:cubicBezTo>
                  <a:cubicBezTo>
                    <a:pt x="17570" y="6084"/>
                    <a:pt x="17554" y="7847"/>
                    <a:pt x="15764" y="8970"/>
                  </a:cubicBezTo>
                  <a:cubicBezTo>
                    <a:pt x="14745" y="9610"/>
                    <a:pt x="13364" y="9929"/>
                    <a:pt x="11983" y="9929"/>
                  </a:cubicBezTo>
                  <a:cubicBezTo>
                    <a:pt x="10663" y="9929"/>
                    <a:pt x="9341" y="9638"/>
                    <a:pt x="8331" y="9054"/>
                  </a:cubicBezTo>
                  <a:cubicBezTo>
                    <a:pt x="7799" y="8747"/>
                    <a:pt x="7405" y="8392"/>
                    <a:pt x="7154" y="8012"/>
                  </a:cubicBezTo>
                  <a:cubicBezTo>
                    <a:pt x="7096" y="7923"/>
                    <a:pt x="7012" y="7849"/>
                    <a:pt x="6908" y="7791"/>
                  </a:cubicBezTo>
                  <a:cubicBezTo>
                    <a:pt x="6701" y="7671"/>
                    <a:pt x="6419" y="7607"/>
                    <a:pt x="6133" y="7607"/>
                  </a:cubicBezTo>
                  <a:cubicBezTo>
                    <a:pt x="5883" y="7607"/>
                    <a:pt x="5630" y="7656"/>
                    <a:pt x="5422" y="7761"/>
                  </a:cubicBezTo>
                  <a:lnTo>
                    <a:pt x="0" y="10913"/>
                  </a:lnTo>
                  <a:lnTo>
                    <a:pt x="18904" y="21825"/>
                  </a:lnTo>
                  <a:lnTo>
                    <a:pt x="37680" y="10913"/>
                  </a:lnTo>
                  <a:lnTo>
                    <a:pt x="32281" y="7794"/>
                  </a:lnTo>
                  <a:cubicBezTo>
                    <a:pt x="31720" y="7472"/>
                    <a:pt x="31916" y="6921"/>
                    <a:pt x="32651" y="6756"/>
                  </a:cubicBezTo>
                  <a:cubicBezTo>
                    <a:pt x="33308" y="6612"/>
                    <a:pt x="33922" y="6386"/>
                    <a:pt x="34449" y="6079"/>
                  </a:cubicBezTo>
                  <a:cubicBezTo>
                    <a:pt x="36458" y="4913"/>
                    <a:pt x="36447" y="3021"/>
                    <a:pt x="34426" y="1854"/>
                  </a:cubicBezTo>
                  <a:cubicBezTo>
                    <a:pt x="34378" y="1827"/>
                    <a:pt x="34332" y="1801"/>
                    <a:pt x="34282" y="1773"/>
                  </a:cubicBezTo>
                  <a:cubicBezTo>
                    <a:pt x="33298" y="1247"/>
                    <a:pt x="32036" y="983"/>
                    <a:pt x="30775" y="983"/>
                  </a:cubicBezTo>
                  <a:cubicBezTo>
                    <a:pt x="29539" y="983"/>
                    <a:pt x="28304" y="1237"/>
                    <a:pt x="27333" y="1745"/>
                  </a:cubicBezTo>
                  <a:cubicBezTo>
                    <a:pt x="26702" y="2075"/>
                    <a:pt x="26245" y="2473"/>
                    <a:pt x="25966" y="2902"/>
                  </a:cubicBezTo>
                  <a:cubicBezTo>
                    <a:pt x="25798" y="3161"/>
                    <a:pt x="25380" y="3303"/>
                    <a:pt x="24953" y="3303"/>
                  </a:cubicBezTo>
                  <a:cubicBezTo>
                    <a:pt x="24677" y="3303"/>
                    <a:pt x="24397" y="3244"/>
                    <a:pt x="24178" y="3117"/>
                  </a:cubicBezTo>
                  <a:lnTo>
                    <a:pt x="18779" y="1"/>
                  </a:lnTo>
                  <a:close/>
                </a:path>
              </a:pathLst>
            </a:custGeom>
            <a:solidFill>
              <a:srgbClr val="F2808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8" name="Google Shape;1398;p49"/>
            <p:cNvSpPr/>
            <p:nvPr/>
          </p:nvSpPr>
          <p:spPr>
            <a:xfrm>
              <a:off x="2286692" y="2531706"/>
              <a:ext cx="2241824" cy="1298518"/>
            </a:xfrm>
            <a:custGeom>
              <a:avLst/>
              <a:gdLst/>
              <a:ahLst/>
              <a:cxnLst/>
              <a:rect l="l" t="t" r="r" b="b"/>
              <a:pathLst>
                <a:path w="36157" h="20943" extrusionOk="0">
                  <a:moveTo>
                    <a:pt x="18016" y="1"/>
                  </a:moveTo>
                  <a:lnTo>
                    <a:pt x="12797" y="3031"/>
                  </a:lnTo>
                  <a:cubicBezTo>
                    <a:pt x="12734" y="3077"/>
                    <a:pt x="12714" y="3113"/>
                    <a:pt x="12714" y="3120"/>
                  </a:cubicBezTo>
                  <a:cubicBezTo>
                    <a:pt x="12714" y="3130"/>
                    <a:pt x="12741" y="3181"/>
                    <a:pt x="12838" y="3239"/>
                  </a:cubicBezTo>
                  <a:cubicBezTo>
                    <a:pt x="12909" y="3280"/>
                    <a:pt x="13003" y="3313"/>
                    <a:pt x="13107" y="3336"/>
                  </a:cubicBezTo>
                  <a:cubicBezTo>
                    <a:pt x="13827" y="3495"/>
                    <a:pt x="14474" y="3739"/>
                    <a:pt x="15029" y="4058"/>
                  </a:cubicBezTo>
                  <a:cubicBezTo>
                    <a:pt x="15097" y="4099"/>
                    <a:pt x="15166" y="4142"/>
                    <a:pt x="15234" y="4183"/>
                  </a:cubicBezTo>
                  <a:cubicBezTo>
                    <a:pt x="16206" y="4807"/>
                    <a:pt x="16738" y="5636"/>
                    <a:pt x="16736" y="6521"/>
                  </a:cubicBezTo>
                  <a:cubicBezTo>
                    <a:pt x="16731" y="7408"/>
                    <a:pt x="16185" y="8235"/>
                    <a:pt x="15204" y="8854"/>
                  </a:cubicBezTo>
                  <a:cubicBezTo>
                    <a:pt x="14157" y="9508"/>
                    <a:pt x="12741" y="9871"/>
                    <a:pt x="11220" y="9871"/>
                  </a:cubicBezTo>
                  <a:cubicBezTo>
                    <a:pt x="9777" y="9871"/>
                    <a:pt x="8410" y="9541"/>
                    <a:pt x="7375" y="8945"/>
                  </a:cubicBezTo>
                  <a:cubicBezTo>
                    <a:pt x="6805" y="8613"/>
                    <a:pt x="6366" y="8222"/>
                    <a:pt x="6072" y="7781"/>
                  </a:cubicBezTo>
                  <a:cubicBezTo>
                    <a:pt x="6052" y="7748"/>
                    <a:pt x="6008" y="7713"/>
                    <a:pt x="5953" y="7680"/>
                  </a:cubicBezTo>
                  <a:cubicBezTo>
                    <a:pt x="5811" y="7599"/>
                    <a:pt x="5593" y="7548"/>
                    <a:pt x="5372" y="7548"/>
                  </a:cubicBezTo>
                  <a:cubicBezTo>
                    <a:pt x="5172" y="7548"/>
                    <a:pt x="4984" y="7586"/>
                    <a:pt x="4842" y="7657"/>
                  </a:cubicBezTo>
                  <a:lnTo>
                    <a:pt x="1" y="10469"/>
                  </a:lnTo>
                  <a:lnTo>
                    <a:pt x="18138" y="20943"/>
                  </a:lnTo>
                  <a:lnTo>
                    <a:pt x="36156" y="10472"/>
                  </a:lnTo>
                  <a:lnTo>
                    <a:pt x="31328" y="7685"/>
                  </a:lnTo>
                  <a:cubicBezTo>
                    <a:pt x="30957" y="7472"/>
                    <a:pt x="30767" y="7137"/>
                    <a:pt x="30820" y="6790"/>
                  </a:cubicBezTo>
                  <a:cubicBezTo>
                    <a:pt x="30884" y="6384"/>
                    <a:pt x="31251" y="6067"/>
                    <a:pt x="31807" y="5943"/>
                  </a:cubicBezTo>
                  <a:cubicBezTo>
                    <a:pt x="32446" y="5801"/>
                    <a:pt x="33014" y="5588"/>
                    <a:pt x="33496" y="5309"/>
                  </a:cubicBezTo>
                  <a:cubicBezTo>
                    <a:pt x="34340" y="4817"/>
                    <a:pt x="34804" y="4188"/>
                    <a:pt x="34804" y="3533"/>
                  </a:cubicBezTo>
                  <a:cubicBezTo>
                    <a:pt x="34804" y="2874"/>
                    <a:pt x="34330" y="2240"/>
                    <a:pt x="33470" y="1743"/>
                  </a:cubicBezTo>
                  <a:cubicBezTo>
                    <a:pt x="33427" y="1718"/>
                    <a:pt x="33384" y="1695"/>
                    <a:pt x="33339" y="1670"/>
                  </a:cubicBezTo>
                  <a:cubicBezTo>
                    <a:pt x="32441" y="1190"/>
                    <a:pt x="31259" y="924"/>
                    <a:pt x="30011" y="924"/>
                  </a:cubicBezTo>
                  <a:cubicBezTo>
                    <a:pt x="28789" y="924"/>
                    <a:pt x="27630" y="1180"/>
                    <a:pt x="26748" y="1642"/>
                  </a:cubicBezTo>
                  <a:cubicBezTo>
                    <a:pt x="26197" y="1928"/>
                    <a:pt x="25774" y="2286"/>
                    <a:pt x="25523" y="2669"/>
                  </a:cubicBezTo>
                  <a:cubicBezTo>
                    <a:pt x="25246" y="3092"/>
                    <a:pt x="24655" y="3244"/>
                    <a:pt x="24191" y="3244"/>
                  </a:cubicBezTo>
                  <a:cubicBezTo>
                    <a:pt x="23834" y="3244"/>
                    <a:pt x="23491" y="3161"/>
                    <a:pt x="23225" y="3006"/>
                  </a:cubicBezTo>
                  <a:lnTo>
                    <a:pt x="18016" y="1"/>
                  </a:lnTo>
                  <a:close/>
                </a:path>
              </a:pathLst>
            </a:custGeom>
            <a:solidFill>
              <a:srgbClr val="F2808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9" name="Google Shape;1399;p49"/>
            <p:cNvSpPr/>
            <p:nvPr/>
          </p:nvSpPr>
          <p:spPr>
            <a:xfrm>
              <a:off x="3410801" y="3180939"/>
              <a:ext cx="1164841" cy="880746"/>
            </a:xfrm>
            <a:custGeom>
              <a:avLst/>
              <a:gdLst/>
              <a:ahLst/>
              <a:cxnLst/>
              <a:rect l="l" t="t" r="r" b="b"/>
              <a:pathLst>
                <a:path w="18787" h="14205" extrusionOk="0">
                  <a:moveTo>
                    <a:pt x="18787" y="1"/>
                  </a:moveTo>
                  <a:lnTo>
                    <a:pt x="11" y="10913"/>
                  </a:lnTo>
                  <a:lnTo>
                    <a:pt x="0" y="14205"/>
                  </a:lnTo>
                  <a:lnTo>
                    <a:pt x="18779" y="3293"/>
                  </a:lnTo>
                  <a:lnTo>
                    <a:pt x="18787" y="1"/>
                  </a:lnTo>
                  <a:close/>
                </a:path>
              </a:pathLst>
            </a:custGeom>
            <a:solidFill>
              <a:srgbClr val="B6606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0" name="Google Shape;1400;p49"/>
            <p:cNvSpPr/>
            <p:nvPr/>
          </p:nvSpPr>
          <p:spPr>
            <a:xfrm>
              <a:off x="2238887" y="3180939"/>
              <a:ext cx="1172591" cy="880746"/>
            </a:xfrm>
            <a:custGeom>
              <a:avLst/>
              <a:gdLst/>
              <a:ahLst/>
              <a:cxnLst/>
              <a:rect l="l" t="t" r="r" b="b"/>
              <a:pathLst>
                <a:path w="18912" h="14205" extrusionOk="0">
                  <a:moveTo>
                    <a:pt x="8" y="1"/>
                  </a:moveTo>
                  <a:lnTo>
                    <a:pt x="1" y="3293"/>
                  </a:lnTo>
                  <a:lnTo>
                    <a:pt x="18901" y="14205"/>
                  </a:lnTo>
                  <a:lnTo>
                    <a:pt x="18912" y="10913"/>
                  </a:lnTo>
                  <a:lnTo>
                    <a:pt x="8" y="1"/>
                  </a:lnTo>
                  <a:close/>
                </a:path>
              </a:pathLst>
            </a:custGeom>
            <a:solidFill>
              <a:srgbClr val="B6606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1" name="Google Shape;1401;p49"/>
            <p:cNvSpPr/>
            <p:nvPr/>
          </p:nvSpPr>
          <p:spPr>
            <a:xfrm>
              <a:off x="5386952" y="2504238"/>
              <a:ext cx="353042" cy="425027"/>
            </a:xfrm>
            <a:custGeom>
              <a:avLst/>
              <a:gdLst/>
              <a:ahLst/>
              <a:cxnLst/>
              <a:rect l="l" t="t" r="r" b="b"/>
              <a:pathLst>
                <a:path w="5694" h="6855" extrusionOk="0">
                  <a:moveTo>
                    <a:pt x="5694" y="0"/>
                  </a:moveTo>
                  <a:lnTo>
                    <a:pt x="330" y="3119"/>
                  </a:lnTo>
                  <a:cubicBezTo>
                    <a:pt x="325" y="3122"/>
                    <a:pt x="320" y="3124"/>
                    <a:pt x="315" y="3127"/>
                  </a:cubicBezTo>
                  <a:cubicBezTo>
                    <a:pt x="305" y="3135"/>
                    <a:pt x="297" y="3140"/>
                    <a:pt x="287" y="3147"/>
                  </a:cubicBezTo>
                  <a:cubicBezTo>
                    <a:pt x="272" y="3155"/>
                    <a:pt x="259" y="3165"/>
                    <a:pt x="246" y="3173"/>
                  </a:cubicBezTo>
                  <a:cubicBezTo>
                    <a:pt x="236" y="3180"/>
                    <a:pt x="226" y="3190"/>
                    <a:pt x="216" y="3198"/>
                  </a:cubicBezTo>
                  <a:cubicBezTo>
                    <a:pt x="203" y="3206"/>
                    <a:pt x="193" y="3216"/>
                    <a:pt x="183" y="3226"/>
                  </a:cubicBezTo>
                  <a:cubicBezTo>
                    <a:pt x="180" y="3226"/>
                    <a:pt x="178" y="3228"/>
                    <a:pt x="175" y="3231"/>
                  </a:cubicBezTo>
                  <a:cubicBezTo>
                    <a:pt x="170" y="3233"/>
                    <a:pt x="168" y="3239"/>
                    <a:pt x="165" y="3244"/>
                  </a:cubicBezTo>
                  <a:cubicBezTo>
                    <a:pt x="148" y="3259"/>
                    <a:pt x="132" y="3277"/>
                    <a:pt x="117" y="3292"/>
                  </a:cubicBezTo>
                  <a:cubicBezTo>
                    <a:pt x="115" y="3297"/>
                    <a:pt x="112" y="3299"/>
                    <a:pt x="107" y="3302"/>
                  </a:cubicBezTo>
                  <a:cubicBezTo>
                    <a:pt x="104" y="3307"/>
                    <a:pt x="102" y="3312"/>
                    <a:pt x="99" y="3315"/>
                  </a:cubicBezTo>
                  <a:cubicBezTo>
                    <a:pt x="92" y="3327"/>
                    <a:pt x="84" y="3340"/>
                    <a:pt x="74" y="3353"/>
                  </a:cubicBezTo>
                  <a:cubicBezTo>
                    <a:pt x="71" y="3358"/>
                    <a:pt x="66" y="3363"/>
                    <a:pt x="64" y="3368"/>
                  </a:cubicBezTo>
                  <a:cubicBezTo>
                    <a:pt x="64" y="3370"/>
                    <a:pt x="61" y="3373"/>
                    <a:pt x="61" y="3375"/>
                  </a:cubicBezTo>
                  <a:cubicBezTo>
                    <a:pt x="54" y="3388"/>
                    <a:pt x="49" y="3398"/>
                    <a:pt x="44" y="3411"/>
                  </a:cubicBezTo>
                  <a:cubicBezTo>
                    <a:pt x="41" y="3416"/>
                    <a:pt x="38" y="3424"/>
                    <a:pt x="36" y="3429"/>
                  </a:cubicBezTo>
                  <a:cubicBezTo>
                    <a:pt x="36" y="3431"/>
                    <a:pt x="33" y="3434"/>
                    <a:pt x="33" y="3436"/>
                  </a:cubicBezTo>
                  <a:cubicBezTo>
                    <a:pt x="31" y="3446"/>
                    <a:pt x="26" y="3459"/>
                    <a:pt x="23" y="3469"/>
                  </a:cubicBezTo>
                  <a:cubicBezTo>
                    <a:pt x="23" y="3477"/>
                    <a:pt x="21" y="3482"/>
                    <a:pt x="18" y="3490"/>
                  </a:cubicBezTo>
                  <a:cubicBezTo>
                    <a:pt x="18" y="3492"/>
                    <a:pt x="18" y="3495"/>
                    <a:pt x="18" y="3497"/>
                  </a:cubicBezTo>
                  <a:cubicBezTo>
                    <a:pt x="16" y="3507"/>
                    <a:pt x="16" y="3520"/>
                    <a:pt x="13" y="3533"/>
                  </a:cubicBezTo>
                  <a:cubicBezTo>
                    <a:pt x="13" y="3540"/>
                    <a:pt x="11" y="3545"/>
                    <a:pt x="11" y="3553"/>
                  </a:cubicBezTo>
                  <a:cubicBezTo>
                    <a:pt x="11" y="3556"/>
                    <a:pt x="11" y="3561"/>
                    <a:pt x="11" y="3563"/>
                  </a:cubicBezTo>
                  <a:lnTo>
                    <a:pt x="0" y="6854"/>
                  </a:lnTo>
                  <a:lnTo>
                    <a:pt x="0" y="6854"/>
                  </a:lnTo>
                  <a:cubicBezTo>
                    <a:pt x="0" y="6844"/>
                    <a:pt x="3" y="6834"/>
                    <a:pt x="3" y="6824"/>
                  </a:cubicBezTo>
                  <a:cubicBezTo>
                    <a:pt x="5" y="6812"/>
                    <a:pt x="5" y="6802"/>
                    <a:pt x="8" y="6789"/>
                  </a:cubicBezTo>
                  <a:cubicBezTo>
                    <a:pt x="11" y="6779"/>
                    <a:pt x="13" y="6771"/>
                    <a:pt x="16" y="6761"/>
                  </a:cubicBezTo>
                  <a:cubicBezTo>
                    <a:pt x="18" y="6751"/>
                    <a:pt x="21" y="6741"/>
                    <a:pt x="23" y="6728"/>
                  </a:cubicBezTo>
                  <a:cubicBezTo>
                    <a:pt x="28" y="6720"/>
                    <a:pt x="31" y="6710"/>
                    <a:pt x="36" y="6703"/>
                  </a:cubicBezTo>
                  <a:cubicBezTo>
                    <a:pt x="41" y="6690"/>
                    <a:pt x="46" y="6680"/>
                    <a:pt x="51" y="6670"/>
                  </a:cubicBezTo>
                  <a:cubicBezTo>
                    <a:pt x="56" y="6660"/>
                    <a:pt x="61" y="6652"/>
                    <a:pt x="66" y="6644"/>
                  </a:cubicBezTo>
                  <a:cubicBezTo>
                    <a:pt x="74" y="6632"/>
                    <a:pt x="82" y="6619"/>
                    <a:pt x="92" y="6606"/>
                  </a:cubicBezTo>
                  <a:cubicBezTo>
                    <a:pt x="97" y="6599"/>
                    <a:pt x="102" y="6591"/>
                    <a:pt x="109" y="6583"/>
                  </a:cubicBezTo>
                  <a:cubicBezTo>
                    <a:pt x="122" y="6568"/>
                    <a:pt x="137" y="6550"/>
                    <a:pt x="155" y="6535"/>
                  </a:cubicBezTo>
                  <a:cubicBezTo>
                    <a:pt x="160" y="6530"/>
                    <a:pt x="165" y="6523"/>
                    <a:pt x="173" y="6518"/>
                  </a:cubicBezTo>
                  <a:cubicBezTo>
                    <a:pt x="183" y="6507"/>
                    <a:pt x="196" y="6500"/>
                    <a:pt x="206" y="6490"/>
                  </a:cubicBezTo>
                  <a:cubicBezTo>
                    <a:pt x="216" y="6482"/>
                    <a:pt x="226" y="6472"/>
                    <a:pt x="236" y="6464"/>
                  </a:cubicBezTo>
                  <a:cubicBezTo>
                    <a:pt x="249" y="6457"/>
                    <a:pt x="264" y="6446"/>
                    <a:pt x="277" y="6439"/>
                  </a:cubicBezTo>
                  <a:cubicBezTo>
                    <a:pt x="292" y="6429"/>
                    <a:pt x="305" y="6421"/>
                    <a:pt x="320" y="6411"/>
                  </a:cubicBezTo>
                  <a:lnTo>
                    <a:pt x="5684" y="3294"/>
                  </a:lnTo>
                  <a:lnTo>
                    <a:pt x="5694" y="0"/>
                  </a:lnTo>
                  <a:close/>
                  <a:moveTo>
                    <a:pt x="0" y="6854"/>
                  </a:moveTo>
                  <a:cubicBezTo>
                    <a:pt x="0" y="6855"/>
                    <a:pt x="0" y="6855"/>
                    <a:pt x="0" y="6855"/>
                  </a:cubicBezTo>
                  <a:lnTo>
                    <a:pt x="0" y="6854"/>
                  </a:lnTo>
                  <a:close/>
                </a:path>
              </a:pathLst>
            </a:custGeom>
            <a:solidFill>
              <a:srgbClr val="0D4D8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2" name="Google Shape;1402;p49"/>
            <p:cNvSpPr/>
            <p:nvPr/>
          </p:nvSpPr>
          <p:spPr>
            <a:xfrm>
              <a:off x="4575151" y="2935841"/>
              <a:ext cx="1062351" cy="449270"/>
            </a:xfrm>
            <a:custGeom>
              <a:avLst/>
              <a:gdLst/>
              <a:ahLst/>
              <a:cxnLst/>
              <a:rect l="l" t="t" r="r" b="b"/>
              <a:pathLst>
                <a:path w="17134" h="7246" extrusionOk="0">
                  <a:moveTo>
                    <a:pt x="17133" y="0"/>
                  </a:moveTo>
                  <a:lnTo>
                    <a:pt x="17133" y="4"/>
                  </a:lnTo>
                  <a:lnTo>
                    <a:pt x="17133" y="4"/>
                  </a:lnTo>
                  <a:cubicBezTo>
                    <a:pt x="17133" y="3"/>
                    <a:pt x="17133" y="2"/>
                    <a:pt x="17133" y="0"/>
                  </a:cubicBezTo>
                  <a:close/>
                  <a:moveTo>
                    <a:pt x="17133" y="4"/>
                  </a:moveTo>
                  <a:cubicBezTo>
                    <a:pt x="17133" y="36"/>
                    <a:pt x="17131" y="68"/>
                    <a:pt x="17128" y="99"/>
                  </a:cubicBezTo>
                  <a:cubicBezTo>
                    <a:pt x="17128" y="122"/>
                    <a:pt x="17126" y="147"/>
                    <a:pt x="17123" y="170"/>
                  </a:cubicBezTo>
                  <a:cubicBezTo>
                    <a:pt x="17121" y="196"/>
                    <a:pt x="17118" y="221"/>
                    <a:pt x="17113" y="246"/>
                  </a:cubicBezTo>
                  <a:cubicBezTo>
                    <a:pt x="17110" y="272"/>
                    <a:pt x="17108" y="294"/>
                    <a:pt x="17103" y="320"/>
                  </a:cubicBezTo>
                  <a:cubicBezTo>
                    <a:pt x="17098" y="345"/>
                    <a:pt x="17093" y="371"/>
                    <a:pt x="17085" y="396"/>
                  </a:cubicBezTo>
                  <a:cubicBezTo>
                    <a:pt x="17080" y="419"/>
                    <a:pt x="17075" y="442"/>
                    <a:pt x="17070" y="467"/>
                  </a:cubicBezTo>
                  <a:cubicBezTo>
                    <a:pt x="17062" y="492"/>
                    <a:pt x="17055" y="518"/>
                    <a:pt x="17044" y="540"/>
                  </a:cubicBezTo>
                  <a:cubicBezTo>
                    <a:pt x="17037" y="566"/>
                    <a:pt x="17032" y="589"/>
                    <a:pt x="17022" y="611"/>
                  </a:cubicBezTo>
                  <a:cubicBezTo>
                    <a:pt x="17014" y="637"/>
                    <a:pt x="17004" y="660"/>
                    <a:pt x="16994" y="685"/>
                  </a:cubicBezTo>
                  <a:cubicBezTo>
                    <a:pt x="16984" y="710"/>
                    <a:pt x="16973" y="733"/>
                    <a:pt x="16961" y="759"/>
                  </a:cubicBezTo>
                  <a:cubicBezTo>
                    <a:pt x="16951" y="784"/>
                    <a:pt x="16938" y="807"/>
                    <a:pt x="16928" y="830"/>
                  </a:cubicBezTo>
                  <a:cubicBezTo>
                    <a:pt x="16915" y="855"/>
                    <a:pt x="16902" y="880"/>
                    <a:pt x="16890" y="903"/>
                  </a:cubicBezTo>
                  <a:cubicBezTo>
                    <a:pt x="16877" y="926"/>
                    <a:pt x="16864" y="946"/>
                    <a:pt x="16852" y="969"/>
                  </a:cubicBezTo>
                  <a:cubicBezTo>
                    <a:pt x="16834" y="997"/>
                    <a:pt x="16816" y="1025"/>
                    <a:pt x="16798" y="1055"/>
                  </a:cubicBezTo>
                  <a:cubicBezTo>
                    <a:pt x="16783" y="1076"/>
                    <a:pt x="16771" y="1096"/>
                    <a:pt x="16755" y="1119"/>
                  </a:cubicBezTo>
                  <a:cubicBezTo>
                    <a:pt x="16735" y="1147"/>
                    <a:pt x="16715" y="1174"/>
                    <a:pt x="16694" y="1202"/>
                  </a:cubicBezTo>
                  <a:cubicBezTo>
                    <a:pt x="16679" y="1220"/>
                    <a:pt x="16664" y="1240"/>
                    <a:pt x="16649" y="1261"/>
                  </a:cubicBezTo>
                  <a:cubicBezTo>
                    <a:pt x="16616" y="1299"/>
                    <a:pt x="16585" y="1337"/>
                    <a:pt x="16550" y="1372"/>
                  </a:cubicBezTo>
                  <a:cubicBezTo>
                    <a:pt x="16537" y="1390"/>
                    <a:pt x="16522" y="1405"/>
                    <a:pt x="16509" y="1420"/>
                  </a:cubicBezTo>
                  <a:cubicBezTo>
                    <a:pt x="16459" y="1471"/>
                    <a:pt x="16408" y="1524"/>
                    <a:pt x="16355" y="1575"/>
                  </a:cubicBezTo>
                  <a:cubicBezTo>
                    <a:pt x="16324" y="1603"/>
                    <a:pt x="16291" y="1628"/>
                    <a:pt x="16261" y="1656"/>
                  </a:cubicBezTo>
                  <a:cubicBezTo>
                    <a:pt x="16243" y="1671"/>
                    <a:pt x="16225" y="1687"/>
                    <a:pt x="16208" y="1702"/>
                  </a:cubicBezTo>
                  <a:cubicBezTo>
                    <a:pt x="16170" y="1735"/>
                    <a:pt x="16126" y="1765"/>
                    <a:pt x="16086" y="1796"/>
                  </a:cubicBezTo>
                  <a:cubicBezTo>
                    <a:pt x="16073" y="1806"/>
                    <a:pt x="16060" y="1816"/>
                    <a:pt x="16048" y="1826"/>
                  </a:cubicBezTo>
                  <a:cubicBezTo>
                    <a:pt x="15992" y="1867"/>
                    <a:pt x="15934" y="1907"/>
                    <a:pt x="15875" y="1948"/>
                  </a:cubicBezTo>
                  <a:cubicBezTo>
                    <a:pt x="15865" y="1956"/>
                    <a:pt x="15853" y="1963"/>
                    <a:pt x="15842" y="1968"/>
                  </a:cubicBezTo>
                  <a:cubicBezTo>
                    <a:pt x="15792" y="2001"/>
                    <a:pt x="15743" y="2034"/>
                    <a:pt x="15690" y="2065"/>
                  </a:cubicBezTo>
                  <a:cubicBezTo>
                    <a:pt x="15627" y="2103"/>
                    <a:pt x="15558" y="2141"/>
                    <a:pt x="15490" y="2179"/>
                  </a:cubicBezTo>
                  <a:cubicBezTo>
                    <a:pt x="15421" y="2217"/>
                    <a:pt x="15350" y="2252"/>
                    <a:pt x="15277" y="2285"/>
                  </a:cubicBezTo>
                  <a:cubicBezTo>
                    <a:pt x="15254" y="2298"/>
                    <a:pt x="15231" y="2308"/>
                    <a:pt x="15208" y="2318"/>
                  </a:cubicBezTo>
                  <a:cubicBezTo>
                    <a:pt x="15158" y="2341"/>
                    <a:pt x="15107" y="2364"/>
                    <a:pt x="15054" y="2387"/>
                  </a:cubicBezTo>
                  <a:cubicBezTo>
                    <a:pt x="15028" y="2399"/>
                    <a:pt x="15000" y="2409"/>
                    <a:pt x="14975" y="2420"/>
                  </a:cubicBezTo>
                  <a:cubicBezTo>
                    <a:pt x="14922" y="2442"/>
                    <a:pt x="14866" y="2465"/>
                    <a:pt x="14813" y="2486"/>
                  </a:cubicBezTo>
                  <a:cubicBezTo>
                    <a:pt x="14790" y="2493"/>
                    <a:pt x="14767" y="2503"/>
                    <a:pt x="14742" y="2511"/>
                  </a:cubicBezTo>
                  <a:cubicBezTo>
                    <a:pt x="14666" y="2539"/>
                    <a:pt x="14587" y="2567"/>
                    <a:pt x="14506" y="2592"/>
                  </a:cubicBezTo>
                  <a:cubicBezTo>
                    <a:pt x="14491" y="2597"/>
                    <a:pt x="14476" y="2602"/>
                    <a:pt x="14460" y="2607"/>
                  </a:cubicBezTo>
                  <a:cubicBezTo>
                    <a:pt x="14402" y="2625"/>
                    <a:pt x="14344" y="2643"/>
                    <a:pt x="14283" y="2661"/>
                  </a:cubicBezTo>
                  <a:cubicBezTo>
                    <a:pt x="14257" y="2668"/>
                    <a:pt x="14230" y="2676"/>
                    <a:pt x="14202" y="2683"/>
                  </a:cubicBezTo>
                  <a:cubicBezTo>
                    <a:pt x="14153" y="2696"/>
                    <a:pt x="14105" y="2709"/>
                    <a:pt x="14055" y="2721"/>
                  </a:cubicBezTo>
                  <a:cubicBezTo>
                    <a:pt x="14024" y="2729"/>
                    <a:pt x="13994" y="2737"/>
                    <a:pt x="13963" y="2744"/>
                  </a:cubicBezTo>
                  <a:cubicBezTo>
                    <a:pt x="13915" y="2754"/>
                    <a:pt x="13869" y="2764"/>
                    <a:pt x="13824" y="2775"/>
                  </a:cubicBezTo>
                  <a:cubicBezTo>
                    <a:pt x="13791" y="2782"/>
                    <a:pt x="13758" y="2790"/>
                    <a:pt x="13725" y="2797"/>
                  </a:cubicBezTo>
                  <a:cubicBezTo>
                    <a:pt x="13679" y="2805"/>
                    <a:pt x="13634" y="2815"/>
                    <a:pt x="13585" y="2823"/>
                  </a:cubicBezTo>
                  <a:cubicBezTo>
                    <a:pt x="13557" y="2828"/>
                    <a:pt x="13527" y="2833"/>
                    <a:pt x="13499" y="2838"/>
                  </a:cubicBezTo>
                  <a:cubicBezTo>
                    <a:pt x="13413" y="2853"/>
                    <a:pt x="13327" y="2868"/>
                    <a:pt x="13238" y="2881"/>
                  </a:cubicBezTo>
                  <a:cubicBezTo>
                    <a:pt x="13225" y="2884"/>
                    <a:pt x="13215" y="2884"/>
                    <a:pt x="13202" y="2886"/>
                  </a:cubicBezTo>
                  <a:cubicBezTo>
                    <a:pt x="13106" y="2899"/>
                    <a:pt x="13007" y="2912"/>
                    <a:pt x="12908" y="2922"/>
                  </a:cubicBezTo>
                  <a:cubicBezTo>
                    <a:pt x="12880" y="2924"/>
                    <a:pt x="12850" y="2927"/>
                    <a:pt x="12822" y="2929"/>
                  </a:cubicBezTo>
                  <a:cubicBezTo>
                    <a:pt x="12761" y="2934"/>
                    <a:pt x="12703" y="2939"/>
                    <a:pt x="12642" y="2945"/>
                  </a:cubicBezTo>
                  <a:cubicBezTo>
                    <a:pt x="12612" y="2947"/>
                    <a:pt x="12581" y="2950"/>
                    <a:pt x="12551" y="2950"/>
                  </a:cubicBezTo>
                  <a:cubicBezTo>
                    <a:pt x="12485" y="2955"/>
                    <a:pt x="12421" y="2957"/>
                    <a:pt x="12355" y="2960"/>
                  </a:cubicBezTo>
                  <a:cubicBezTo>
                    <a:pt x="12330" y="2962"/>
                    <a:pt x="12307" y="2962"/>
                    <a:pt x="12284" y="2965"/>
                  </a:cubicBezTo>
                  <a:cubicBezTo>
                    <a:pt x="12206" y="2967"/>
                    <a:pt x="12125" y="2967"/>
                    <a:pt x="12046" y="2967"/>
                  </a:cubicBezTo>
                  <a:lnTo>
                    <a:pt x="12033" y="2967"/>
                  </a:lnTo>
                  <a:cubicBezTo>
                    <a:pt x="12008" y="2968"/>
                    <a:pt x="11983" y="2968"/>
                    <a:pt x="11958" y="2968"/>
                  </a:cubicBezTo>
                  <a:cubicBezTo>
                    <a:pt x="11898" y="2968"/>
                    <a:pt x="11839" y="2967"/>
                    <a:pt x="11780" y="2965"/>
                  </a:cubicBezTo>
                  <a:cubicBezTo>
                    <a:pt x="11752" y="2965"/>
                    <a:pt x="11721" y="2965"/>
                    <a:pt x="11694" y="2962"/>
                  </a:cubicBezTo>
                  <a:cubicBezTo>
                    <a:pt x="11640" y="2962"/>
                    <a:pt x="11587" y="2960"/>
                    <a:pt x="11534" y="2957"/>
                  </a:cubicBezTo>
                  <a:cubicBezTo>
                    <a:pt x="11501" y="2955"/>
                    <a:pt x="11468" y="2952"/>
                    <a:pt x="11435" y="2950"/>
                  </a:cubicBezTo>
                  <a:cubicBezTo>
                    <a:pt x="11387" y="2947"/>
                    <a:pt x="11339" y="2945"/>
                    <a:pt x="11290" y="2942"/>
                  </a:cubicBezTo>
                  <a:cubicBezTo>
                    <a:pt x="11255" y="2937"/>
                    <a:pt x="11219" y="2934"/>
                    <a:pt x="11186" y="2932"/>
                  </a:cubicBezTo>
                  <a:cubicBezTo>
                    <a:pt x="11138" y="2927"/>
                    <a:pt x="11093" y="2924"/>
                    <a:pt x="11044" y="2919"/>
                  </a:cubicBezTo>
                  <a:cubicBezTo>
                    <a:pt x="11011" y="2914"/>
                    <a:pt x="10976" y="2912"/>
                    <a:pt x="10940" y="2907"/>
                  </a:cubicBezTo>
                  <a:cubicBezTo>
                    <a:pt x="10895" y="2901"/>
                    <a:pt x="10849" y="2896"/>
                    <a:pt x="10803" y="2889"/>
                  </a:cubicBezTo>
                  <a:cubicBezTo>
                    <a:pt x="10768" y="2884"/>
                    <a:pt x="10735" y="2879"/>
                    <a:pt x="10699" y="2874"/>
                  </a:cubicBezTo>
                  <a:cubicBezTo>
                    <a:pt x="10651" y="2866"/>
                    <a:pt x="10603" y="2858"/>
                    <a:pt x="10555" y="2851"/>
                  </a:cubicBezTo>
                  <a:cubicBezTo>
                    <a:pt x="10522" y="2846"/>
                    <a:pt x="10489" y="2841"/>
                    <a:pt x="10456" y="2835"/>
                  </a:cubicBezTo>
                  <a:cubicBezTo>
                    <a:pt x="10405" y="2825"/>
                    <a:pt x="10357" y="2815"/>
                    <a:pt x="10306" y="2805"/>
                  </a:cubicBezTo>
                  <a:cubicBezTo>
                    <a:pt x="10276" y="2800"/>
                    <a:pt x="10248" y="2795"/>
                    <a:pt x="10218" y="2787"/>
                  </a:cubicBezTo>
                  <a:cubicBezTo>
                    <a:pt x="10134" y="2770"/>
                    <a:pt x="10050" y="2752"/>
                    <a:pt x="9967" y="2732"/>
                  </a:cubicBezTo>
                  <a:cubicBezTo>
                    <a:pt x="9964" y="2732"/>
                    <a:pt x="9959" y="2729"/>
                    <a:pt x="9956" y="2729"/>
                  </a:cubicBezTo>
                  <a:cubicBezTo>
                    <a:pt x="9878" y="2709"/>
                    <a:pt x="9799" y="2688"/>
                    <a:pt x="9721" y="2666"/>
                  </a:cubicBezTo>
                  <a:cubicBezTo>
                    <a:pt x="9700" y="2661"/>
                    <a:pt x="9677" y="2655"/>
                    <a:pt x="9657" y="2648"/>
                  </a:cubicBezTo>
                  <a:cubicBezTo>
                    <a:pt x="9579" y="2625"/>
                    <a:pt x="9502" y="2602"/>
                    <a:pt x="9424" y="2577"/>
                  </a:cubicBezTo>
                  <a:cubicBezTo>
                    <a:pt x="9404" y="2569"/>
                    <a:pt x="9383" y="2562"/>
                    <a:pt x="9363" y="2557"/>
                  </a:cubicBezTo>
                  <a:cubicBezTo>
                    <a:pt x="9274" y="2526"/>
                    <a:pt x="9185" y="2493"/>
                    <a:pt x="9097" y="2458"/>
                  </a:cubicBezTo>
                  <a:cubicBezTo>
                    <a:pt x="9079" y="2450"/>
                    <a:pt x="9059" y="2442"/>
                    <a:pt x="9041" y="2435"/>
                  </a:cubicBezTo>
                  <a:cubicBezTo>
                    <a:pt x="8975" y="2409"/>
                    <a:pt x="8909" y="2382"/>
                    <a:pt x="8846" y="2354"/>
                  </a:cubicBezTo>
                  <a:cubicBezTo>
                    <a:pt x="8823" y="2344"/>
                    <a:pt x="8800" y="2333"/>
                    <a:pt x="8777" y="2323"/>
                  </a:cubicBezTo>
                  <a:cubicBezTo>
                    <a:pt x="8699" y="2285"/>
                    <a:pt x="8620" y="2247"/>
                    <a:pt x="8541" y="2209"/>
                  </a:cubicBezTo>
                  <a:cubicBezTo>
                    <a:pt x="8473" y="2171"/>
                    <a:pt x="8407" y="2136"/>
                    <a:pt x="8341" y="2098"/>
                  </a:cubicBezTo>
                  <a:cubicBezTo>
                    <a:pt x="7808" y="1791"/>
                    <a:pt x="7415" y="1433"/>
                    <a:pt x="7164" y="1050"/>
                  </a:cubicBezTo>
                  <a:cubicBezTo>
                    <a:pt x="7106" y="964"/>
                    <a:pt x="7022" y="890"/>
                    <a:pt x="6918" y="832"/>
                  </a:cubicBezTo>
                  <a:cubicBezTo>
                    <a:pt x="6896" y="817"/>
                    <a:pt x="6870" y="804"/>
                    <a:pt x="6842" y="792"/>
                  </a:cubicBezTo>
                  <a:cubicBezTo>
                    <a:pt x="6835" y="789"/>
                    <a:pt x="6825" y="784"/>
                    <a:pt x="6814" y="781"/>
                  </a:cubicBezTo>
                  <a:cubicBezTo>
                    <a:pt x="6799" y="774"/>
                    <a:pt x="6784" y="766"/>
                    <a:pt x="6766" y="759"/>
                  </a:cubicBezTo>
                  <a:lnTo>
                    <a:pt x="6761" y="759"/>
                  </a:lnTo>
                  <a:cubicBezTo>
                    <a:pt x="6726" y="743"/>
                    <a:pt x="6685" y="731"/>
                    <a:pt x="6647" y="718"/>
                  </a:cubicBezTo>
                  <a:cubicBezTo>
                    <a:pt x="6642" y="718"/>
                    <a:pt x="6639" y="715"/>
                    <a:pt x="6637" y="715"/>
                  </a:cubicBezTo>
                  <a:cubicBezTo>
                    <a:pt x="6627" y="713"/>
                    <a:pt x="6619" y="710"/>
                    <a:pt x="6609" y="708"/>
                  </a:cubicBezTo>
                  <a:cubicBezTo>
                    <a:pt x="6586" y="703"/>
                    <a:pt x="6563" y="698"/>
                    <a:pt x="6540" y="693"/>
                  </a:cubicBezTo>
                  <a:cubicBezTo>
                    <a:pt x="6533" y="690"/>
                    <a:pt x="6528" y="688"/>
                    <a:pt x="6520" y="688"/>
                  </a:cubicBezTo>
                  <a:cubicBezTo>
                    <a:pt x="6513" y="685"/>
                    <a:pt x="6505" y="685"/>
                    <a:pt x="6497" y="682"/>
                  </a:cubicBezTo>
                  <a:cubicBezTo>
                    <a:pt x="6477" y="680"/>
                    <a:pt x="6457" y="675"/>
                    <a:pt x="6437" y="672"/>
                  </a:cubicBezTo>
                  <a:cubicBezTo>
                    <a:pt x="6429" y="670"/>
                    <a:pt x="6419" y="670"/>
                    <a:pt x="6411" y="667"/>
                  </a:cubicBezTo>
                  <a:cubicBezTo>
                    <a:pt x="6404" y="667"/>
                    <a:pt x="6396" y="667"/>
                    <a:pt x="6391" y="665"/>
                  </a:cubicBezTo>
                  <a:cubicBezTo>
                    <a:pt x="6371" y="662"/>
                    <a:pt x="6353" y="660"/>
                    <a:pt x="6333" y="660"/>
                  </a:cubicBezTo>
                  <a:cubicBezTo>
                    <a:pt x="6322" y="657"/>
                    <a:pt x="6312" y="657"/>
                    <a:pt x="6302" y="655"/>
                  </a:cubicBezTo>
                  <a:lnTo>
                    <a:pt x="6284" y="655"/>
                  </a:lnTo>
                  <a:cubicBezTo>
                    <a:pt x="6264" y="652"/>
                    <a:pt x="6246" y="652"/>
                    <a:pt x="6226" y="652"/>
                  </a:cubicBezTo>
                  <a:cubicBezTo>
                    <a:pt x="6216" y="652"/>
                    <a:pt x="6206" y="650"/>
                    <a:pt x="6193" y="650"/>
                  </a:cubicBezTo>
                  <a:lnTo>
                    <a:pt x="6081" y="650"/>
                  </a:lnTo>
                  <a:cubicBezTo>
                    <a:pt x="6076" y="650"/>
                    <a:pt x="6074" y="650"/>
                    <a:pt x="6069" y="652"/>
                  </a:cubicBezTo>
                  <a:cubicBezTo>
                    <a:pt x="6041" y="652"/>
                    <a:pt x="6013" y="655"/>
                    <a:pt x="5985" y="657"/>
                  </a:cubicBezTo>
                  <a:lnTo>
                    <a:pt x="5960" y="657"/>
                  </a:lnTo>
                  <a:cubicBezTo>
                    <a:pt x="5957" y="660"/>
                    <a:pt x="5957" y="660"/>
                    <a:pt x="5955" y="660"/>
                  </a:cubicBezTo>
                  <a:cubicBezTo>
                    <a:pt x="5914" y="662"/>
                    <a:pt x="5874" y="670"/>
                    <a:pt x="5830" y="675"/>
                  </a:cubicBezTo>
                  <a:cubicBezTo>
                    <a:pt x="5828" y="677"/>
                    <a:pt x="5825" y="677"/>
                    <a:pt x="5820" y="677"/>
                  </a:cubicBezTo>
                  <a:cubicBezTo>
                    <a:pt x="5810" y="680"/>
                    <a:pt x="5797" y="682"/>
                    <a:pt x="5785" y="685"/>
                  </a:cubicBezTo>
                  <a:cubicBezTo>
                    <a:pt x="5767" y="688"/>
                    <a:pt x="5749" y="693"/>
                    <a:pt x="5732" y="698"/>
                  </a:cubicBezTo>
                  <a:cubicBezTo>
                    <a:pt x="5714" y="700"/>
                    <a:pt x="5699" y="705"/>
                    <a:pt x="5683" y="710"/>
                  </a:cubicBezTo>
                  <a:cubicBezTo>
                    <a:pt x="5666" y="713"/>
                    <a:pt x="5648" y="718"/>
                    <a:pt x="5630" y="726"/>
                  </a:cubicBezTo>
                  <a:cubicBezTo>
                    <a:pt x="5625" y="726"/>
                    <a:pt x="5620" y="728"/>
                    <a:pt x="5615" y="728"/>
                  </a:cubicBezTo>
                  <a:cubicBezTo>
                    <a:pt x="5607" y="731"/>
                    <a:pt x="5602" y="733"/>
                    <a:pt x="5595" y="736"/>
                  </a:cubicBezTo>
                  <a:cubicBezTo>
                    <a:pt x="5567" y="746"/>
                    <a:pt x="5539" y="756"/>
                    <a:pt x="5511" y="769"/>
                  </a:cubicBezTo>
                  <a:cubicBezTo>
                    <a:pt x="5501" y="774"/>
                    <a:pt x="5491" y="776"/>
                    <a:pt x="5478" y="781"/>
                  </a:cubicBezTo>
                  <a:cubicBezTo>
                    <a:pt x="5442" y="799"/>
                    <a:pt x="5407" y="814"/>
                    <a:pt x="5374" y="835"/>
                  </a:cubicBezTo>
                  <a:lnTo>
                    <a:pt x="8" y="3954"/>
                  </a:lnTo>
                  <a:lnTo>
                    <a:pt x="0" y="7246"/>
                  </a:lnTo>
                  <a:lnTo>
                    <a:pt x="0" y="7246"/>
                  </a:lnTo>
                  <a:lnTo>
                    <a:pt x="5364" y="4126"/>
                  </a:lnTo>
                  <a:cubicBezTo>
                    <a:pt x="5399" y="4109"/>
                    <a:pt x="5432" y="4091"/>
                    <a:pt x="5470" y="4073"/>
                  </a:cubicBezTo>
                  <a:cubicBezTo>
                    <a:pt x="5480" y="4071"/>
                    <a:pt x="5491" y="4065"/>
                    <a:pt x="5501" y="4060"/>
                  </a:cubicBezTo>
                  <a:cubicBezTo>
                    <a:pt x="5529" y="4048"/>
                    <a:pt x="5557" y="4038"/>
                    <a:pt x="5587" y="4027"/>
                  </a:cubicBezTo>
                  <a:cubicBezTo>
                    <a:pt x="5597" y="4025"/>
                    <a:pt x="5610" y="4020"/>
                    <a:pt x="5622" y="4017"/>
                  </a:cubicBezTo>
                  <a:cubicBezTo>
                    <a:pt x="5638" y="4012"/>
                    <a:pt x="5655" y="4007"/>
                    <a:pt x="5673" y="4002"/>
                  </a:cubicBezTo>
                  <a:cubicBezTo>
                    <a:pt x="5691" y="3997"/>
                    <a:pt x="5706" y="3992"/>
                    <a:pt x="5721" y="3989"/>
                  </a:cubicBezTo>
                  <a:cubicBezTo>
                    <a:pt x="5739" y="3984"/>
                    <a:pt x="5757" y="3982"/>
                    <a:pt x="5777" y="3977"/>
                  </a:cubicBezTo>
                  <a:cubicBezTo>
                    <a:pt x="5792" y="3974"/>
                    <a:pt x="5808" y="3972"/>
                    <a:pt x="5823" y="3969"/>
                  </a:cubicBezTo>
                  <a:cubicBezTo>
                    <a:pt x="5863" y="3961"/>
                    <a:pt x="5904" y="3956"/>
                    <a:pt x="5947" y="3951"/>
                  </a:cubicBezTo>
                  <a:cubicBezTo>
                    <a:pt x="5955" y="3949"/>
                    <a:pt x="5965" y="3949"/>
                    <a:pt x="5975" y="3949"/>
                  </a:cubicBezTo>
                  <a:cubicBezTo>
                    <a:pt x="6003" y="3946"/>
                    <a:pt x="6031" y="3944"/>
                    <a:pt x="6061" y="3944"/>
                  </a:cubicBezTo>
                  <a:cubicBezTo>
                    <a:pt x="6076" y="3941"/>
                    <a:pt x="6092" y="3941"/>
                    <a:pt x="6107" y="3941"/>
                  </a:cubicBezTo>
                  <a:lnTo>
                    <a:pt x="6168" y="3941"/>
                  </a:lnTo>
                  <a:cubicBezTo>
                    <a:pt x="6185" y="3941"/>
                    <a:pt x="6201" y="3944"/>
                    <a:pt x="6218" y="3944"/>
                  </a:cubicBezTo>
                  <a:cubicBezTo>
                    <a:pt x="6236" y="3944"/>
                    <a:pt x="6256" y="3946"/>
                    <a:pt x="6274" y="3946"/>
                  </a:cubicBezTo>
                  <a:cubicBezTo>
                    <a:pt x="6292" y="3949"/>
                    <a:pt x="6307" y="3949"/>
                    <a:pt x="6325" y="3951"/>
                  </a:cubicBezTo>
                  <a:cubicBezTo>
                    <a:pt x="6343" y="3954"/>
                    <a:pt x="6363" y="3954"/>
                    <a:pt x="6381" y="3956"/>
                  </a:cubicBezTo>
                  <a:cubicBezTo>
                    <a:pt x="6396" y="3959"/>
                    <a:pt x="6411" y="3961"/>
                    <a:pt x="6426" y="3964"/>
                  </a:cubicBezTo>
                  <a:cubicBezTo>
                    <a:pt x="6447" y="3967"/>
                    <a:pt x="6467" y="3972"/>
                    <a:pt x="6487" y="3974"/>
                  </a:cubicBezTo>
                  <a:cubicBezTo>
                    <a:pt x="6502" y="3977"/>
                    <a:pt x="6518" y="3982"/>
                    <a:pt x="6530" y="3984"/>
                  </a:cubicBezTo>
                  <a:cubicBezTo>
                    <a:pt x="6556" y="3989"/>
                    <a:pt x="6579" y="3994"/>
                    <a:pt x="6601" y="3999"/>
                  </a:cubicBezTo>
                  <a:cubicBezTo>
                    <a:pt x="6611" y="4005"/>
                    <a:pt x="6624" y="4007"/>
                    <a:pt x="6637" y="4010"/>
                  </a:cubicBezTo>
                  <a:cubicBezTo>
                    <a:pt x="6677" y="4022"/>
                    <a:pt x="6715" y="4035"/>
                    <a:pt x="6754" y="4050"/>
                  </a:cubicBezTo>
                  <a:cubicBezTo>
                    <a:pt x="6771" y="4058"/>
                    <a:pt x="6789" y="4065"/>
                    <a:pt x="6807" y="4073"/>
                  </a:cubicBezTo>
                  <a:cubicBezTo>
                    <a:pt x="6814" y="4076"/>
                    <a:pt x="6825" y="4081"/>
                    <a:pt x="6832" y="4083"/>
                  </a:cubicBezTo>
                  <a:cubicBezTo>
                    <a:pt x="6860" y="4096"/>
                    <a:pt x="6885" y="4111"/>
                    <a:pt x="6911" y="4124"/>
                  </a:cubicBezTo>
                  <a:cubicBezTo>
                    <a:pt x="7012" y="4185"/>
                    <a:pt x="7096" y="4256"/>
                    <a:pt x="7154" y="4342"/>
                  </a:cubicBezTo>
                  <a:cubicBezTo>
                    <a:pt x="7408" y="4725"/>
                    <a:pt x="7798" y="5082"/>
                    <a:pt x="8331" y="5389"/>
                  </a:cubicBezTo>
                  <a:cubicBezTo>
                    <a:pt x="8397" y="5427"/>
                    <a:pt x="8463" y="5465"/>
                    <a:pt x="8534" y="5501"/>
                  </a:cubicBezTo>
                  <a:cubicBezTo>
                    <a:pt x="8610" y="5539"/>
                    <a:pt x="8688" y="5577"/>
                    <a:pt x="8770" y="5615"/>
                  </a:cubicBezTo>
                  <a:cubicBezTo>
                    <a:pt x="8792" y="5625"/>
                    <a:pt x="8815" y="5635"/>
                    <a:pt x="8836" y="5645"/>
                  </a:cubicBezTo>
                  <a:cubicBezTo>
                    <a:pt x="8901" y="5673"/>
                    <a:pt x="8965" y="5701"/>
                    <a:pt x="9031" y="5726"/>
                  </a:cubicBezTo>
                  <a:cubicBezTo>
                    <a:pt x="9043" y="5732"/>
                    <a:pt x="9056" y="5739"/>
                    <a:pt x="9071" y="5744"/>
                  </a:cubicBezTo>
                  <a:cubicBezTo>
                    <a:pt x="9076" y="5747"/>
                    <a:pt x="9082" y="5749"/>
                    <a:pt x="9089" y="5749"/>
                  </a:cubicBezTo>
                  <a:cubicBezTo>
                    <a:pt x="9175" y="5785"/>
                    <a:pt x="9264" y="5818"/>
                    <a:pt x="9353" y="5848"/>
                  </a:cubicBezTo>
                  <a:cubicBezTo>
                    <a:pt x="9373" y="5856"/>
                    <a:pt x="9396" y="5861"/>
                    <a:pt x="9416" y="5868"/>
                  </a:cubicBezTo>
                  <a:cubicBezTo>
                    <a:pt x="9492" y="5894"/>
                    <a:pt x="9568" y="5917"/>
                    <a:pt x="9647" y="5940"/>
                  </a:cubicBezTo>
                  <a:cubicBezTo>
                    <a:pt x="9662" y="5945"/>
                    <a:pt x="9675" y="5950"/>
                    <a:pt x="9688" y="5952"/>
                  </a:cubicBezTo>
                  <a:cubicBezTo>
                    <a:pt x="9695" y="5955"/>
                    <a:pt x="9703" y="5957"/>
                    <a:pt x="9710" y="5960"/>
                  </a:cubicBezTo>
                  <a:cubicBezTo>
                    <a:pt x="9789" y="5980"/>
                    <a:pt x="9868" y="6003"/>
                    <a:pt x="9946" y="6021"/>
                  </a:cubicBezTo>
                  <a:cubicBezTo>
                    <a:pt x="9951" y="6023"/>
                    <a:pt x="9954" y="6023"/>
                    <a:pt x="9956" y="6023"/>
                  </a:cubicBezTo>
                  <a:cubicBezTo>
                    <a:pt x="10040" y="6043"/>
                    <a:pt x="10124" y="6064"/>
                    <a:pt x="10207" y="6082"/>
                  </a:cubicBezTo>
                  <a:cubicBezTo>
                    <a:pt x="10215" y="6082"/>
                    <a:pt x="10223" y="6084"/>
                    <a:pt x="10230" y="6087"/>
                  </a:cubicBezTo>
                  <a:cubicBezTo>
                    <a:pt x="10253" y="6089"/>
                    <a:pt x="10273" y="6094"/>
                    <a:pt x="10296" y="6099"/>
                  </a:cubicBezTo>
                  <a:cubicBezTo>
                    <a:pt x="10347" y="6109"/>
                    <a:pt x="10398" y="6117"/>
                    <a:pt x="10446" y="6127"/>
                  </a:cubicBezTo>
                  <a:cubicBezTo>
                    <a:pt x="10479" y="6132"/>
                    <a:pt x="10512" y="6137"/>
                    <a:pt x="10545" y="6142"/>
                  </a:cubicBezTo>
                  <a:cubicBezTo>
                    <a:pt x="10593" y="6153"/>
                    <a:pt x="10641" y="6160"/>
                    <a:pt x="10692" y="6168"/>
                  </a:cubicBezTo>
                  <a:cubicBezTo>
                    <a:pt x="10707" y="6168"/>
                    <a:pt x="10725" y="6173"/>
                    <a:pt x="10740" y="6175"/>
                  </a:cubicBezTo>
                  <a:cubicBezTo>
                    <a:pt x="10758" y="6178"/>
                    <a:pt x="10776" y="6178"/>
                    <a:pt x="10793" y="6180"/>
                  </a:cubicBezTo>
                  <a:cubicBezTo>
                    <a:pt x="10839" y="6188"/>
                    <a:pt x="10885" y="6193"/>
                    <a:pt x="10930" y="6198"/>
                  </a:cubicBezTo>
                  <a:cubicBezTo>
                    <a:pt x="10966" y="6203"/>
                    <a:pt x="11001" y="6206"/>
                    <a:pt x="11037" y="6211"/>
                  </a:cubicBezTo>
                  <a:cubicBezTo>
                    <a:pt x="11082" y="6216"/>
                    <a:pt x="11131" y="6221"/>
                    <a:pt x="11176" y="6224"/>
                  </a:cubicBezTo>
                  <a:cubicBezTo>
                    <a:pt x="11199" y="6226"/>
                    <a:pt x="11222" y="6229"/>
                    <a:pt x="11245" y="6231"/>
                  </a:cubicBezTo>
                  <a:cubicBezTo>
                    <a:pt x="11257" y="6231"/>
                    <a:pt x="11268" y="6231"/>
                    <a:pt x="11280" y="6234"/>
                  </a:cubicBezTo>
                  <a:cubicBezTo>
                    <a:pt x="11328" y="6236"/>
                    <a:pt x="11377" y="6239"/>
                    <a:pt x="11427" y="6244"/>
                  </a:cubicBezTo>
                  <a:cubicBezTo>
                    <a:pt x="11460" y="6244"/>
                    <a:pt x="11493" y="6246"/>
                    <a:pt x="11526" y="6249"/>
                  </a:cubicBezTo>
                  <a:cubicBezTo>
                    <a:pt x="11577" y="6251"/>
                    <a:pt x="11630" y="6254"/>
                    <a:pt x="11683" y="6254"/>
                  </a:cubicBezTo>
                  <a:cubicBezTo>
                    <a:pt x="11709" y="6256"/>
                    <a:pt x="11732" y="6256"/>
                    <a:pt x="11757" y="6259"/>
                  </a:cubicBezTo>
                  <a:lnTo>
                    <a:pt x="11772" y="6259"/>
                  </a:lnTo>
                  <a:cubicBezTo>
                    <a:pt x="11856" y="6259"/>
                    <a:pt x="11940" y="6262"/>
                    <a:pt x="12023" y="6262"/>
                  </a:cubicBezTo>
                  <a:lnTo>
                    <a:pt x="12038" y="6262"/>
                  </a:lnTo>
                  <a:cubicBezTo>
                    <a:pt x="12117" y="6259"/>
                    <a:pt x="12196" y="6259"/>
                    <a:pt x="12274" y="6256"/>
                  </a:cubicBezTo>
                  <a:lnTo>
                    <a:pt x="12290" y="6256"/>
                  </a:lnTo>
                  <a:cubicBezTo>
                    <a:pt x="12310" y="6254"/>
                    <a:pt x="12328" y="6254"/>
                    <a:pt x="12345" y="6254"/>
                  </a:cubicBezTo>
                  <a:cubicBezTo>
                    <a:pt x="12411" y="6249"/>
                    <a:pt x="12477" y="6246"/>
                    <a:pt x="12541" y="6244"/>
                  </a:cubicBezTo>
                  <a:cubicBezTo>
                    <a:pt x="12574" y="6241"/>
                    <a:pt x="12604" y="6239"/>
                    <a:pt x="12634" y="6236"/>
                  </a:cubicBezTo>
                  <a:cubicBezTo>
                    <a:pt x="12693" y="6231"/>
                    <a:pt x="12754" y="6226"/>
                    <a:pt x="12812" y="6221"/>
                  </a:cubicBezTo>
                  <a:cubicBezTo>
                    <a:pt x="12830" y="6221"/>
                    <a:pt x="12850" y="6218"/>
                    <a:pt x="12868" y="6216"/>
                  </a:cubicBezTo>
                  <a:cubicBezTo>
                    <a:pt x="12878" y="6216"/>
                    <a:pt x="12888" y="6213"/>
                    <a:pt x="12898" y="6213"/>
                  </a:cubicBezTo>
                  <a:cubicBezTo>
                    <a:pt x="12997" y="6203"/>
                    <a:pt x="13096" y="6191"/>
                    <a:pt x="13192" y="6178"/>
                  </a:cubicBezTo>
                  <a:cubicBezTo>
                    <a:pt x="13205" y="6175"/>
                    <a:pt x="13218" y="6175"/>
                    <a:pt x="13230" y="6173"/>
                  </a:cubicBezTo>
                  <a:cubicBezTo>
                    <a:pt x="13317" y="6160"/>
                    <a:pt x="13403" y="6147"/>
                    <a:pt x="13489" y="6132"/>
                  </a:cubicBezTo>
                  <a:cubicBezTo>
                    <a:pt x="13502" y="6130"/>
                    <a:pt x="13517" y="6127"/>
                    <a:pt x="13530" y="6125"/>
                  </a:cubicBezTo>
                  <a:cubicBezTo>
                    <a:pt x="13545" y="6122"/>
                    <a:pt x="13563" y="6120"/>
                    <a:pt x="13578" y="6114"/>
                  </a:cubicBezTo>
                  <a:cubicBezTo>
                    <a:pt x="13623" y="6107"/>
                    <a:pt x="13669" y="6097"/>
                    <a:pt x="13715" y="6089"/>
                  </a:cubicBezTo>
                  <a:cubicBezTo>
                    <a:pt x="13748" y="6082"/>
                    <a:pt x="13781" y="6074"/>
                    <a:pt x="13814" y="6069"/>
                  </a:cubicBezTo>
                  <a:cubicBezTo>
                    <a:pt x="13859" y="6059"/>
                    <a:pt x="13907" y="6046"/>
                    <a:pt x="13953" y="6036"/>
                  </a:cubicBezTo>
                  <a:cubicBezTo>
                    <a:pt x="13984" y="6028"/>
                    <a:pt x="14017" y="6021"/>
                    <a:pt x="14047" y="6013"/>
                  </a:cubicBezTo>
                  <a:cubicBezTo>
                    <a:pt x="14095" y="6000"/>
                    <a:pt x="14143" y="5988"/>
                    <a:pt x="14191" y="5975"/>
                  </a:cubicBezTo>
                  <a:cubicBezTo>
                    <a:pt x="14219" y="5967"/>
                    <a:pt x="14247" y="5960"/>
                    <a:pt x="14275" y="5952"/>
                  </a:cubicBezTo>
                  <a:cubicBezTo>
                    <a:pt x="14334" y="5934"/>
                    <a:pt x="14392" y="5917"/>
                    <a:pt x="14453" y="5899"/>
                  </a:cubicBezTo>
                  <a:cubicBezTo>
                    <a:pt x="14465" y="5894"/>
                    <a:pt x="14481" y="5891"/>
                    <a:pt x="14493" y="5886"/>
                  </a:cubicBezTo>
                  <a:cubicBezTo>
                    <a:pt x="14496" y="5886"/>
                    <a:pt x="14496" y="5886"/>
                    <a:pt x="14498" y="5884"/>
                  </a:cubicBezTo>
                  <a:cubicBezTo>
                    <a:pt x="14577" y="5858"/>
                    <a:pt x="14656" y="5830"/>
                    <a:pt x="14734" y="5803"/>
                  </a:cubicBezTo>
                  <a:cubicBezTo>
                    <a:pt x="14757" y="5795"/>
                    <a:pt x="14780" y="5785"/>
                    <a:pt x="14803" y="5777"/>
                  </a:cubicBezTo>
                  <a:cubicBezTo>
                    <a:pt x="14858" y="5757"/>
                    <a:pt x="14912" y="5734"/>
                    <a:pt x="14967" y="5711"/>
                  </a:cubicBezTo>
                  <a:cubicBezTo>
                    <a:pt x="14993" y="5701"/>
                    <a:pt x="15018" y="5691"/>
                    <a:pt x="15044" y="5681"/>
                  </a:cubicBezTo>
                  <a:cubicBezTo>
                    <a:pt x="15097" y="5658"/>
                    <a:pt x="15148" y="5633"/>
                    <a:pt x="15201" y="5610"/>
                  </a:cubicBezTo>
                  <a:cubicBezTo>
                    <a:pt x="15224" y="5600"/>
                    <a:pt x="15246" y="5590"/>
                    <a:pt x="15269" y="5579"/>
                  </a:cubicBezTo>
                  <a:cubicBezTo>
                    <a:pt x="15340" y="5544"/>
                    <a:pt x="15411" y="5508"/>
                    <a:pt x="15482" y="5470"/>
                  </a:cubicBezTo>
                  <a:cubicBezTo>
                    <a:pt x="15551" y="5432"/>
                    <a:pt x="15617" y="5394"/>
                    <a:pt x="15680" y="5356"/>
                  </a:cubicBezTo>
                  <a:lnTo>
                    <a:pt x="15683" y="5356"/>
                  </a:lnTo>
                  <a:cubicBezTo>
                    <a:pt x="15731" y="5328"/>
                    <a:pt x="15776" y="5298"/>
                    <a:pt x="15822" y="5267"/>
                  </a:cubicBezTo>
                  <a:cubicBezTo>
                    <a:pt x="15835" y="5260"/>
                    <a:pt x="15853" y="5250"/>
                    <a:pt x="15865" y="5240"/>
                  </a:cubicBezTo>
                  <a:cubicBezTo>
                    <a:pt x="15926" y="5202"/>
                    <a:pt x="15982" y="5161"/>
                    <a:pt x="16038" y="5120"/>
                  </a:cubicBezTo>
                  <a:cubicBezTo>
                    <a:pt x="16055" y="5108"/>
                    <a:pt x="16068" y="5095"/>
                    <a:pt x="16083" y="5082"/>
                  </a:cubicBezTo>
                  <a:cubicBezTo>
                    <a:pt x="16124" y="5054"/>
                    <a:pt x="16162" y="5024"/>
                    <a:pt x="16197" y="4994"/>
                  </a:cubicBezTo>
                  <a:cubicBezTo>
                    <a:pt x="16218" y="4978"/>
                    <a:pt x="16235" y="4961"/>
                    <a:pt x="16253" y="4945"/>
                  </a:cubicBezTo>
                  <a:cubicBezTo>
                    <a:pt x="16284" y="4920"/>
                    <a:pt x="16314" y="4895"/>
                    <a:pt x="16342" y="4867"/>
                  </a:cubicBezTo>
                  <a:lnTo>
                    <a:pt x="16345" y="4867"/>
                  </a:lnTo>
                  <a:cubicBezTo>
                    <a:pt x="16398" y="4816"/>
                    <a:pt x="16451" y="4765"/>
                    <a:pt x="16499" y="4712"/>
                  </a:cubicBezTo>
                  <a:cubicBezTo>
                    <a:pt x="16514" y="4697"/>
                    <a:pt x="16527" y="4682"/>
                    <a:pt x="16542" y="4666"/>
                  </a:cubicBezTo>
                  <a:cubicBezTo>
                    <a:pt x="16575" y="4628"/>
                    <a:pt x="16608" y="4590"/>
                    <a:pt x="16639" y="4552"/>
                  </a:cubicBezTo>
                  <a:cubicBezTo>
                    <a:pt x="16646" y="4542"/>
                    <a:pt x="16654" y="4535"/>
                    <a:pt x="16662" y="4524"/>
                  </a:cubicBezTo>
                  <a:cubicBezTo>
                    <a:pt x="16669" y="4514"/>
                    <a:pt x="16677" y="4504"/>
                    <a:pt x="16684" y="4494"/>
                  </a:cubicBezTo>
                  <a:cubicBezTo>
                    <a:pt x="16705" y="4466"/>
                    <a:pt x="16725" y="4438"/>
                    <a:pt x="16745" y="4410"/>
                  </a:cubicBezTo>
                  <a:cubicBezTo>
                    <a:pt x="16760" y="4390"/>
                    <a:pt x="16776" y="4367"/>
                    <a:pt x="16788" y="4347"/>
                  </a:cubicBezTo>
                  <a:cubicBezTo>
                    <a:pt x="16809" y="4319"/>
                    <a:pt x="16826" y="4289"/>
                    <a:pt x="16842" y="4261"/>
                  </a:cubicBezTo>
                  <a:cubicBezTo>
                    <a:pt x="16852" y="4245"/>
                    <a:pt x="16862" y="4230"/>
                    <a:pt x="16869" y="4218"/>
                  </a:cubicBezTo>
                  <a:cubicBezTo>
                    <a:pt x="16872" y="4210"/>
                    <a:pt x="16877" y="4202"/>
                    <a:pt x="16880" y="4197"/>
                  </a:cubicBezTo>
                  <a:cubicBezTo>
                    <a:pt x="16892" y="4172"/>
                    <a:pt x="16905" y="4147"/>
                    <a:pt x="16918" y="4121"/>
                  </a:cubicBezTo>
                  <a:cubicBezTo>
                    <a:pt x="16930" y="4098"/>
                    <a:pt x="16943" y="4076"/>
                    <a:pt x="16953" y="4050"/>
                  </a:cubicBezTo>
                  <a:cubicBezTo>
                    <a:pt x="16963" y="4027"/>
                    <a:pt x="16973" y="4002"/>
                    <a:pt x="16984" y="3977"/>
                  </a:cubicBezTo>
                  <a:cubicBezTo>
                    <a:pt x="16991" y="3959"/>
                    <a:pt x="16999" y="3941"/>
                    <a:pt x="17006" y="3923"/>
                  </a:cubicBezTo>
                  <a:cubicBezTo>
                    <a:pt x="17009" y="3918"/>
                    <a:pt x="17011" y="3911"/>
                    <a:pt x="17014" y="3906"/>
                  </a:cubicBezTo>
                  <a:cubicBezTo>
                    <a:pt x="17022" y="3880"/>
                    <a:pt x="17029" y="3857"/>
                    <a:pt x="17037" y="3832"/>
                  </a:cubicBezTo>
                  <a:cubicBezTo>
                    <a:pt x="17044" y="3809"/>
                    <a:pt x="17052" y="3784"/>
                    <a:pt x="17060" y="3759"/>
                  </a:cubicBezTo>
                  <a:cubicBezTo>
                    <a:pt x="17065" y="3736"/>
                    <a:pt x="17072" y="3710"/>
                    <a:pt x="17077" y="3688"/>
                  </a:cubicBezTo>
                  <a:cubicBezTo>
                    <a:pt x="17080" y="3670"/>
                    <a:pt x="17085" y="3652"/>
                    <a:pt x="17090" y="3634"/>
                  </a:cubicBezTo>
                  <a:cubicBezTo>
                    <a:pt x="17090" y="3627"/>
                    <a:pt x="17093" y="3619"/>
                    <a:pt x="17093" y="3611"/>
                  </a:cubicBezTo>
                  <a:cubicBezTo>
                    <a:pt x="17098" y="3586"/>
                    <a:pt x="17100" y="3563"/>
                    <a:pt x="17105" y="3538"/>
                  </a:cubicBezTo>
                  <a:cubicBezTo>
                    <a:pt x="17108" y="3513"/>
                    <a:pt x="17113" y="3490"/>
                    <a:pt x="17115" y="3464"/>
                  </a:cubicBezTo>
                  <a:cubicBezTo>
                    <a:pt x="17118" y="3439"/>
                    <a:pt x="17118" y="3414"/>
                    <a:pt x="17121" y="3391"/>
                  </a:cubicBezTo>
                  <a:cubicBezTo>
                    <a:pt x="17121" y="3373"/>
                    <a:pt x="17123" y="3355"/>
                    <a:pt x="17123" y="3338"/>
                  </a:cubicBezTo>
                  <a:cubicBezTo>
                    <a:pt x="17123" y="3322"/>
                    <a:pt x="17123" y="3307"/>
                    <a:pt x="17123" y="3292"/>
                  </a:cubicBezTo>
                  <a:lnTo>
                    <a:pt x="17133" y="4"/>
                  </a:lnTo>
                  <a:close/>
                </a:path>
              </a:pathLst>
            </a:custGeom>
            <a:solidFill>
              <a:srgbClr val="0D4D8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3" name="Google Shape;1403;p49"/>
            <p:cNvSpPr/>
            <p:nvPr/>
          </p:nvSpPr>
          <p:spPr>
            <a:xfrm>
              <a:off x="3403733" y="1827600"/>
              <a:ext cx="2336254" cy="1353391"/>
            </a:xfrm>
            <a:custGeom>
              <a:avLst/>
              <a:gdLst/>
              <a:ahLst/>
              <a:cxnLst/>
              <a:rect l="l" t="t" r="r" b="b"/>
              <a:pathLst>
                <a:path w="37680" h="21828" extrusionOk="0">
                  <a:moveTo>
                    <a:pt x="18779" y="1"/>
                  </a:moveTo>
                  <a:lnTo>
                    <a:pt x="0" y="10916"/>
                  </a:lnTo>
                  <a:lnTo>
                    <a:pt x="5458" y="14065"/>
                  </a:lnTo>
                  <a:cubicBezTo>
                    <a:pt x="5667" y="14169"/>
                    <a:pt x="5921" y="14219"/>
                    <a:pt x="6171" y="14219"/>
                  </a:cubicBezTo>
                  <a:cubicBezTo>
                    <a:pt x="6598" y="14219"/>
                    <a:pt x="7015" y="14076"/>
                    <a:pt x="7185" y="13817"/>
                  </a:cubicBezTo>
                  <a:cubicBezTo>
                    <a:pt x="7436" y="13436"/>
                    <a:pt x="7824" y="13079"/>
                    <a:pt x="8351" y="12772"/>
                  </a:cubicBezTo>
                  <a:cubicBezTo>
                    <a:pt x="9354" y="12189"/>
                    <a:pt x="10672" y="11897"/>
                    <a:pt x="11992" y="11897"/>
                  </a:cubicBezTo>
                  <a:cubicBezTo>
                    <a:pt x="13312" y="11897"/>
                    <a:pt x="14634" y="12189"/>
                    <a:pt x="15645" y="12772"/>
                  </a:cubicBezTo>
                  <a:cubicBezTo>
                    <a:pt x="15690" y="12800"/>
                    <a:pt x="15738" y="12828"/>
                    <a:pt x="15784" y="12856"/>
                  </a:cubicBezTo>
                  <a:cubicBezTo>
                    <a:pt x="17590" y="13979"/>
                    <a:pt x="17623" y="15742"/>
                    <a:pt x="15858" y="16880"/>
                  </a:cubicBezTo>
                  <a:cubicBezTo>
                    <a:pt x="15290" y="17248"/>
                    <a:pt x="14602" y="17512"/>
                    <a:pt x="13864" y="17676"/>
                  </a:cubicBezTo>
                  <a:cubicBezTo>
                    <a:pt x="13154" y="17831"/>
                    <a:pt x="12957" y="18351"/>
                    <a:pt x="13443" y="18676"/>
                  </a:cubicBezTo>
                  <a:lnTo>
                    <a:pt x="18901" y="21828"/>
                  </a:lnTo>
                  <a:lnTo>
                    <a:pt x="24267" y="18709"/>
                  </a:lnTo>
                  <a:cubicBezTo>
                    <a:pt x="24484" y="18583"/>
                    <a:pt x="24763" y="18523"/>
                    <a:pt x="25039" y="18523"/>
                  </a:cubicBezTo>
                  <a:cubicBezTo>
                    <a:pt x="25324" y="18523"/>
                    <a:pt x="25605" y="18586"/>
                    <a:pt x="25811" y="18706"/>
                  </a:cubicBezTo>
                  <a:cubicBezTo>
                    <a:pt x="25915" y="18764"/>
                    <a:pt x="25999" y="18838"/>
                    <a:pt x="26057" y="18924"/>
                  </a:cubicBezTo>
                  <a:cubicBezTo>
                    <a:pt x="26308" y="19307"/>
                    <a:pt x="26701" y="19665"/>
                    <a:pt x="27234" y="19972"/>
                  </a:cubicBezTo>
                  <a:cubicBezTo>
                    <a:pt x="27300" y="20010"/>
                    <a:pt x="27366" y="20045"/>
                    <a:pt x="27434" y="20083"/>
                  </a:cubicBezTo>
                  <a:cubicBezTo>
                    <a:pt x="28411" y="20590"/>
                    <a:pt x="29648" y="20843"/>
                    <a:pt x="30884" y="20843"/>
                  </a:cubicBezTo>
                  <a:cubicBezTo>
                    <a:pt x="32146" y="20843"/>
                    <a:pt x="33405" y="20579"/>
                    <a:pt x="34383" y="20053"/>
                  </a:cubicBezTo>
                  <a:cubicBezTo>
                    <a:pt x="36536" y="18894"/>
                    <a:pt x="36571" y="16941"/>
                    <a:pt x="34505" y="15747"/>
                  </a:cubicBezTo>
                  <a:cubicBezTo>
                    <a:pt x="33972" y="15440"/>
                    <a:pt x="33356" y="15214"/>
                    <a:pt x="32699" y="15070"/>
                  </a:cubicBezTo>
                  <a:cubicBezTo>
                    <a:pt x="32547" y="15037"/>
                    <a:pt x="32420" y="14986"/>
                    <a:pt x="32316" y="14928"/>
                  </a:cubicBezTo>
                  <a:cubicBezTo>
                    <a:pt x="31910" y="14692"/>
                    <a:pt x="31872" y="14288"/>
                    <a:pt x="32316" y="14032"/>
                  </a:cubicBezTo>
                  <a:lnTo>
                    <a:pt x="37680" y="10913"/>
                  </a:lnTo>
                  <a:lnTo>
                    <a:pt x="18779" y="1"/>
                  </a:lnTo>
                  <a:close/>
                </a:path>
              </a:pathLst>
            </a:custGeom>
            <a:solidFill>
              <a:srgbClr val="F2506E"/>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4" name="Google Shape;1404;p49"/>
            <p:cNvSpPr/>
            <p:nvPr/>
          </p:nvSpPr>
          <p:spPr>
            <a:xfrm>
              <a:off x="3433949" y="1880972"/>
              <a:ext cx="2241886" cy="1298642"/>
            </a:xfrm>
            <a:custGeom>
              <a:avLst/>
              <a:gdLst/>
              <a:ahLst/>
              <a:cxnLst/>
              <a:rect l="l" t="t" r="r" b="b"/>
              <a:pathLst>
                <a:path w="36158" h="20945" extrusionOk="0">
                  <a:moveTo>
                    <a:pt x="18018" y="0"/>
                  </a:moveTo>
                  <a:lnTo>
                    <a:pt x="0" y="10471"/>
                  </a:lnTo>
                  <a:lnTo>
                    <a:pt x="4877" y="13286"/>
                  </a:lnTo>
                  <a:cubicBezTo>
                    <a:pt x="5021" y="13357"/>
                    <a:pt x="5211" y="13395"/>
                    <a:pt x="5409" y="13395"/>
                  </a:cubicBezTo>
                  <a:cubicBezTo>
                    <a:pt x="5764" y="13395"/>
                    <a:pt x="6033" y="13276"/>
                    <a:pt x="6104" y="13164"/>
                  </a:cubicBezTo>
                  <a:cubicBezTo>
                    <a:pt x="6396" y="12720"/>
                    <a:pt x="6829" y="12330"/>
                    <a:pt x="7397" y="12000"/>
                  </a:cubicBezTo>
                  <a:cubicBezTo>
                    <a:pt x="8427" y="11402"/>
                    <a:pt x="9789" y="11072"/>
                    <a:pt x="11232" y="11072"/>
                  </a:cubicBezTo>
                  <a:cubicBezTo>
                    <a:pt x="12675" y="11072"/>
                    <a:pt x="14039" y="11402"/>
                    <a:pt x="15074" y="11998"/>
                  </a:cubicBezTo>
                  <a:cubicBezTo>
                    <a:pt x="15125" y="12028"/>
                    <a:pt x="15175" y="12059"/>
                    <a:pt x="15223" y="12089"/>
                  </a:cubicBezTo>
                  <a:cubicBezTo>
                    <a:pt x="16220" y="12710"/>
                    <a:pt x="16773" y="13542"/>
                    <a:pt x="16781" y="14435"/>
                  </a:cubicBezTo>
                  <a:cubicBezTo>
                    <a:pt x="16788" y="15315"/>
                    <a:pt x="16263" y="16139"/>
                    <a:pt x="15305" y="16760"/>
                  </a:cubicBezTo>
                  <a:cubicBezTo>
                    <a:pt x="14711" y="17141"/>
                    <a:pt x="13999" y="17427"/>
                    <a:pt x="13185" y="17607"/>
                  </a:cubicBezTo>
                  <a:cubicBezTo>
                    <a:pt x="12908" y="17668"/>
                    <a:pt x="12802" y="17785"/>
                    <a:pt x="12797" y="17818"/>
                  </a:cubicBezTo>
                  <a:cubicBezTo>
                    <a:pt x="12799" y="17825"/>
                    <a:pt x="12819" y="17863"/>
                    <a:pt x="12885" y="17912"/>
                  </a:cubicBezTo>
                  <a:lnTo>
                    <a:pt x="18140" y="20945"/>
                  </a:lnTo>
                  <a:lnTo>
                    <a:pt x="23313" y="17937"/>
                  </a:lnTo>
                  <a:cubicBezTo>
                    <a:pt x="23577" y="17782"/>
                    <a:pt x="23919" y="17699"/>
                    <a:pt x="24277" y="17699"/>
                  </a:cubicBezTo>
                  <a:cubicBezTo>
                    <a:pt x="24640" y="17699"/>
                    <a:pt x="24982" y="17782"/>
                    <a:pt x="25243" y="17934"/>
                  </a:cubicBezTo>
                  <a:cubicBezTo>
                    <a:pt x="25400" y="18026"/>
                    <a:pt x="25525" y="18137"/>
                    <a:pt x="25613" y="18272"/>
                  </a:cubicBezTo>
                  <a:cubicBezTo>
                    <a:pt x="25842" y="18617"/>
                    <a:pt x="26194" y="18929"/>
                    <a:pt x="26663" y="19200"/>
                  </a:cubicBezTo>
                  <a:cubicBezTo>
                    <a:pt x="26724" y="19233"/>
                    <a:pt x="26787" y="19268"/>
                    <a:pt x="26851" y="19301"/>
                  </a:cubicBezTo>
                  <a:cubicBezTo>
                    <a:pt x="27741" y="19763"/>
                    <a:pt x="28902" y="20019"/>
                    <a:pt x="30122" y="20019"/>
                  </a:cubicBezTo>
                  <a:cubicBezTo>
                    <a:pt x="31373" y="20019"/>
                    <a:pt x="32549" y="19755"/>
                    <a:pt x="33442" y="19273"/>
                  </a:cubicBezTo>
                  <a:cubicBezTo>
                    <a:pt x="34362" y="18779"/>
                    <a:pt x="34875" y="18130"/>
                    <a:pt x="34885" y="17448"/>
                  </a:cubicBezTo>
                  <a:cubicBezTo>
                    <a:pt x="34892" y="16781"/>
                    <a:pt x="34421" y="16136"/>
                    <a:pt x="33551" y="15637"/>
                  </a:cubicBezTo>
                  <a:cubicBezTo>
                    <a:pt x="33067" y="15355"/>
                    <a:pt x="32496" y="15142"/>
                    <a:pt x="31854" y="15000"/>
                  </a:cubicBezTo>
                  <a:cubicBezTo>
                    <a:pt x="31669" y="14960"/>
                    <a:pt x="31504" y="14896"/>
                    <a:pt x="31365" y="14815"/>
                  </a:cubicBezTo>
                  <a:cubicBezTo>
                    <a:pt x="31040" y="14628"/>
                    <a:pt x="30855" y="14344"/>
                    <a:pt x="30855" y="14037"/>
                  </a:cubicBezTo>
                  <a:cubicBezTo>
                    <a:pt x="30853" y="13730"/>
                    <a:pt x="31038" y="13448"/>
                    <a:pt x="31362" y="13261"/>
                  </a:cubicBezTo>
                  <a:lnTo>
                    <a:pt x="36158" y="10474"/>
                  </a:lnTo>
                  <a:lnTo>
                    <a:pt x="18018" y="0"/>
                  </a:lnTo>
                  <a:close/>
                </a:path>
              </a:pathLst>
            </a:custGeom>
            <a:solidFill>
              <a:srgbClr val="F2506E"/>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5" name="Google Shape;1405;p49"/>
            <p:cNvSpPr/>
            <p:nvPr/>
          </p:nvSpPr>
          <p:spPr>
            <a:xfrm>
              <a:off x="5574511" y="3086633"/>
              <a:ext cx="631557" cy="365443"/>
            </a:xfrm>
            <a:custGeom>
              <a:avLst/>
              <a:gdLst/>
              <a:ahLst/>
              <a:cxnLst/>
              <a:rect l="l" t="t" r="r" b="b"/>
              <a:pathLst>
                <a:path w="10186" h="5894" extrusionOk="0">
                  <a:moveTo>
                    <a:pt x="5889" y="332"/>
                  </a:moveTo>
                  <a:cubicBezTo>
                    <a:pt x="5993" y="332"/>
                    <a:pt x="6087" y="355"/>
                    <a:pt x="6156" y="396"/>
                  </a:cubicBezTo>
                  <a:cubicBezTo>
                    <a:pt x="6224" y="434"/>
                    <a:pt x="6265" y="490"/>
                    <a:pt x="6267" y="548"/>
                  </a:cubicBezTo>
                  <a:cubicBezTo>
                    <a:pt x="6267" y="632"/>
                    <a:pt x="6323" y="708"/>
                    <a:pt x="6422" y="764"/>
                  </a:cubicBezTo>
                  <a:cubicBezTo>
                    <a:pt x="6470" y="791"/>
                    <a:pt x="6528" y="814"/>
                    <a:pt x="6594" y="832"/>
                  </a:cubicBezTo>
                  <a:cubicBezTo>
                    <a:pt x="6659" y="848"/>
                    <a:pt x="6728" y="856"/>
                    <a:pt x="6795" y="856"/>
                  </a:cubicBezTo>
                  <a:cubicBezTo>
                    <a:pt x="6933" y="856"/>
                    <a:pt x="7068" y="824"/>
                    <a:pt x="7170" y="766"/>
                  </a:cubicBezTo>
                  <a:cubicBezTo>
                    <a:pt x="7242" y="723"/>
                    <a:pt x="7338" y="701"/>
                    <a:pt x="7434" y="701"/>
                  </a:cubicBezTo>
                  <a:cubicBezTo>
                    <a:pt x="7530" y="701"/>
                    <a:pt x="7626" y="723"/>
                    <a:pt x="7700" y="766"/>
                  </a:cubicBezTo>
                  <a:lnTo>
                    <a:pt x="8851" y="1431"/>
                  </a:lnTo>
                  <a:cubicBezTo>
                    <a:pt x="8998" y="1514"/>
                    <a:pt x="8998" y="1654"/>
                    <a:pt x="8854" y="1737"/>
                  </a:cubicBezTo>
                  <a:cubicBezTo>
                    <a:pt x="8702" y="1826"/>
                    <a:pt x="8656" y="1955"/>
                    <a:pt x="8740" y="2070"/>
                  </a:cubicBezTo>
                  <a:cubicBezTo>
                    <a:pt x="8768" y="2108"/>
                    <a:pt x="8808" y="2143"/>
                    <a:pt x="8856" y="2171"/>
                  </a:cubicBezTo>
                  <a:cubicBezTo>
                    <a:pt x="8953" y="2227"/>
                    <a:pt x="9087" y="2260"/>
                    <a:pt x="9229" y="2260"/>
                  </a:cubicBezTo>
                  <a:cubicBezTo>
                    <a:pt x="9331" y="2260"/>
                    <a:pt x="9427" y="2283"/>
                    <a:pt x="9495" y="2323"/>
                  </a:cubicBezTo>
                  <a:cubicBezTo>
                    <a:pt x="9561" y="2364"/>
                    <a:pt x="9605" y="2417"/>
                    <a:pt x="9605" y="2478"/>
                  </a:cubicBezTo>
                  <a:lnTo>
                    <a:pt x="9610" y="3416"/>
                  </a:lnTo>
                  <a:cubicBezTo>
                    <a:pt x="9612" y="3538"/>
                    <a:pt x="9445" y="3634"/>
                    <a:pt x="9237" y="3634"/>
                  </a:cubicBezTo>
                  <a:cubicBezTo>
                    <a:pt x="9024" y="3634"/>
                    <a:pt x="8831" y="3708"/>
                    <a:pt x="8750" y="3822"/>
                  </a:cubicBezTo>
                  <a:cubicBezTo>
                    <a:pt x="8669" y="3939"/>
                    <a:pt x="8714" y="4068"/>
                    <a:pt x="8867" y="4157"/>
                  </a:cubicBezTo>
                  <a:cubicBezTo>
                    <a:pt x="9014" y="4240"/>
                    <a:pt x="9014" y="4380"/>
                    <a:pt x="8869" y="4464"/>
                  </a:cubicBezTo>
                  <a:lnTo>
                    <a:pt x="7725" y="5128"/>
                  </a:lnTo>
                  <a:cubicBezTo>
                    <a:pt x="7652" y="5171"/>
                    <a:pt x="7555" y="5193"/>
                    <a:pt x="7459" y="5193"/>
                  </a:cubicBezTo>
                  <a:cubicBezTo>
                    <a:pt x="7363" y="5193"/>
                    <a:pt x="7266" y="5171"/>
                    <a:pt x="7193" y="5128"/>
                  </a:cubicBezTo>
                  <a:cubicBezTo>
                    <a:pt x="7092" y="5070"/>
                    <a:pt x="6957" y="5039"/>
                    <a:pt x="6819" y="5039"/>
                  </a:cubicBezTo>
                  <a:cubicBezTo>
                    <a:pt x="6751" y="5039"/>
                    <a:pt x="6682" y="5046"/>
                    <a:pt x="6617" y="5062"/>
                  </a:cubicBezTo>
                  <a:cubicBezTo>
                    <a:pt x="6419" y="5110"/>
                    <a:pt x="6293" y="5222"/>
                    <a:pt x="6295" y="5344"/>
                  </a:cubicBezTo>
                  <a:cubicBezTo>
                    <a:pt x="6293" y="5465"/>
                    <a:pt x="6128" y="5562"/>
                    <a:pt x="5920" y="5562"/>
                  </a:cubicBezTo>
                  <a:lnTo>
                    <a:pt x="4297" y="5562"/>
                  </a:lnTo>
                  <a:cubicBezTo>
                    <a:pt x="4193" y="5562"/>
                    <a:pt x="4099" y="5539"/>
                    <a:pt x="4030" y="5498"/>
                  </a:cubicBezTo>
                  <a:cubicBezTo>
                    <a:pt x="3962" y="5458"/>
                    <a:pt x="3919" y="5404"/>
                    <a:pt x="3919" y="5344"/>
                  </a:cubicBezTo>
                  <a:cubicBezTo>
                    <a:pt x="3919" y="5262"/>
                    <a:pt x="3863" y="5186"/>
                    <a:pt x="3764" y="5131"/>
                  </a:cubicBezTo>
                  <a:cubicBezTo>
                    <a:pt x="3716" y="5100"/>
                    <a:pt x="3658" y="5077"/>
                    <a:pt x="3592" y="5062"/>
                  </a:cubicBezTo>
                  <a:cubicBezTo>
                    <a:pt x="3527" y="5046"/>
                    <a:pt x="3458" y="5039"/>
                    <a:pt x="3391" y="5039"/>
                  </a:cubicBezTo>
                  <a:cubicBezTo>
                    <a:pt x="3254" y="5039"/>
                    <a:pt x="3119" y="5070"/>
                    <a:pt x="3019" y="5128"/>
                  </a:cubicBezTo>
                  <a:cubicBezTo>
                    <a:pt x="2945" y="5171"/>
                    <a:pt x="2849" y="5193"/>
                    <a:pt x="2752" y="5193"/>
                  </a:cubicBezTo>
                  <a:cubicBezTo>
                    <a:pt x="2656" y="5193"/>
                    <a:pt x="2560" y="5171"/>
                    <a:pt x="2486" y="5128"/>
                  </a:cubicBezTo>
                  <a:lnTo>
                    <a:pt x="1335" y="4464"/>
                  </a:lnTo>
                  <a:cubicBezTo>
                    <a:pt x="1188" y="4380"/>
                    <a:pt x="1188" y="4240"/>
                    <a:pt x="1335" y="4157"/>
                  </a:cubicBezTo>
                  <a:cubicBezTo>
                    <a:pt x="1484" y="4068"/>
                    <a:pt x="1527" y="3939"/>
                    <a:pt x="1446" y="3824"/>
                  </a:cubicBezTo>
                  <a:cubicBezTo>
                    <a:pt x="1418" y="3786"/>
                    <a:pt x="1380" y="3751"/>
                    <a:pt x="1330" y="3723"/>
                  </a:cubicBezTo>
                  <a:cubicBezTo>
                    <a:pt x="1233" y="3667"/>
                    <a:pt x="1101" y="3634"/>
                    <a:pt x="957" y="3634"/>
                  </a:cubicBezTo>
                  <a:cubicBezTo>
                    <a:pt x="853" y="3634"/>
                    <a:pt x="759" y="3609"/>
                    <a:pt x="693" y="3571"/>
                  </a:cubicBezTo>
                  <a:cubicBezTo>
                    <a:pt x="625" y="3530"/>
                    <a:pt x="582" y="3477"/>
                    <a:pt x="582" y="3416"/>
                  </a:cubicBezTo>
                  <a:lnTo>
                    <a:pt x="574" y="2475"/>
                  </a:lnTo>
                  <a:cubicBezTo>
                    <a:pt x="574" y="2356"/>
                    <a:pt x="741" y="2260"/>
                    <a:pt x="949" y="2260"/>
                  </a:cubicBezTo>
                  <a:cubicBezTo>
                    <a:pt x="1165" y="2260"/>
                    <a:pt x="1355" y="2186"/>
                    <a:pt x="1436" y="2070"/>
                  </a:cubicBezTo>
                  <a:cubicBezTo>
                    <a:pt x="1517" y="1955"/>
                    <a:pt x="1472" y="1826"/>
                    <a:pt x="1320" y="1737"/>
                  </a:cubicBezTo>
                  <a:cubicBezTo>
                    <a:pt x="1172" y="1654"/>
                    <a:pt x="1172" y="1514"/>
                    <a:pt x="1317" y="1431"/>
                  </a:cubicBezTo>
                  <a:lnTo>
                    <a:pt x="2463" y="766"/>
                  </a:lnTo>
                  <a:cubicBezTo>
                    <a:pt x="2536" y="723"/>
                    <a:pt x="2631" y="701"/>
                    <a:pt x="2727" y="701"/>
                  </a:cubicBezTo>
                  <a:cubicBezTo>
                    <a:pt x="2823" y="701"/>
                    <a:pt x="2920" y="723"/>
                    <a:pt x="2993" y="766"/>
                  </a:cubicBezTo>
                  <a:cubicBezTo>
                    <a:pt x="3095" y="824"/>
                    <a:pt x="3231" y="854"/>
                    <a:pt x="3368" y="854"/>
                  </a:cubicBezTo>
                  <a:cubicBezTo>
                    <a:pt x="3436" y="854"/>
                    <a:pt x="3504" y="847"/>
                    <a:pt x="3569" y="832"/>
                  </a:cubicBezTo>
                  <a:cubicBezTo>
                    <a:pt x="3767" y="784"/>
                    <a:pt x="3894" y="672"/>
                    <a:pt x="3894" y="548"/>
                  </a:cubicBezTo>
                  <a:cubicBezTo>
                    <a:pt x="3894" y="490"/>
                    <a:pt x="3932" y="436"/>
                    <a:pt x="4000" y="396"/>
                  </a:cubicBezTo>
                  <a:cubicBezTo>
                    <a:pt x="4071" y="353"/>
                    <a:pt x="4165" y="332"/>
                    <a:pt x="4266" y="332"/>
                  </a:cubicBezTo>
                  <a:close/>
                  <a:moveTo>
                    <a:pt x="4266" y="0"/>
                  </a:moveTo>
                  <a:cubicBezTo>
                    <a:pt x="4013" y="0"/>
                    <a:pt x="3774" y="56"/>
                    <a:pt x="3594" y="160"/>
                  </a:cubicBezTo>
                  <a:cubicBezTo>
                    <a:pt x="3440" y="251"/>
                    <a:pt x="3346" y="368"/>
                    <a:pt x="3325" y="492"/>
                  </a:cubicBezTo>
                  <a:cubicBezTo>
                    <a:pt x="3152" y="411"/>
                    <a:pt x="2939" y="370"/>
                    <a:pt x="2727" y="370"/>
                  </a:cubicBezTo>
                  <a:cubicBezTo>
                    <a:pt x="2484" y="370"/>
                    <a:pt x="2242" y="423"/>
                    <a:pt x="2057" y="530"/>
                  </a:cubicBezTo>
                  <a:lnTo>
                    <a:pt x="911" y="1195"/>
                  </a:lnTo>
                  <a:cubicBezTo>
                    <a:pt x="566" y="1398"/>
                    <a:pt x="546" y="1715"/>
                    <a:pt x="850" y="1930"/>
                  </a:cubicBezTo>
                  <a:cubicBezTo>
                    <a:pt x="635" y="1943"/>
                    <a:pt x="434" y="1999"/>
                    <a:pt x="277" y="2087"/>
                  </a:cubicBezTo>
                  <a:cubicBezTo>
                    <a:pt x="100" y="2191"/>
                    <a:pt x="1" y="2331"/>
                    <a:pt x="3" y="2478"/>
                  </a:cubicBezTo>
                  <a:lnTo>
                    <a:pt x="8" y="3416"/>
                  </a:lnTo>
                  <a:cubicBezTo>
                    <a:pt x="8" y="3568"/>
                    <a:pt x="115" y="3705"/>
                    <a:pt x="287" y="3804"/>
                  </a:cubicBezTo>
                  <a:cubicBezTo>
                    <a:pt x="440" y="3893"/>
                    <a:pt x="640" y="3951"/>
                    <a:pt x="863" y="3964"/>
                  </a:cubicBezTo>
                  <a:cubicBezTo>
                    <a:pt x="561" y="4180"/>
                    <a:pt x="584" y="4499"/>
                    <a:pt x="932" y="4699"/>
                  </a:cubicBezTo>
                  <a:lnTo>
                    <a:pt x="2083" y="5364"/>
                  </a:lnTo>
                  <a:cubicBezTo>
                    <a:pt x="2268" y="5470"/>
                    <a:pt x="2510" y="5524"/>
                    <a:pt x="2752" y="5524"/>
                  </a:cubicBezTo>
                  <a:cubicBezTo>
                    <a:pt x="2965" y="5524"/>
                    <a:pt x="3179" y="5482"/>
                    <a:pt x="3353" y="5399"/>
                  </a:cubicBezTo>
                  <a:cubicBezTo>
                    <a:pt x="3376" y="5529"/>
                    <a:pt x="3478" y="5645"/>
                    <a:pt x="3627" y="5734"/>
                  </a:cubicBezTo>
                  <a:cubicBezTo>
                    <a:pt x="3800" y="5833"/>
                    <a:pt x="4038" y="5894"/>
                    <a:pt x="4299" y="5894"/>
                  </a:cubicBezTo>
                  <a:lnTo>
                    <a:pt x="5922" y="5894"/>
                  </a:lnTo>
                  <a:cubicBezTo>
                    <a:pt x="6173" y="5894"/>
                    <a:pt x="6412" y="5836"/>
                    <a:pt x="6589" y="5734"/>
                  </a:cubicBezTo>
                  <a:cubicBezTo>
                    <a:pt x="6746" y="5643"/>
                    <a:pt x="6840" y="5526"/>
                    <a:pt x="6863" y="5399"/>
                  </a:cubicBezTo>
                  <a:cubicBezTo>
                    <a:pt x="7038" y="5482"/>
                    <a:pt x="7251" y="5524"/>
                    <a:pt x="7464" y="5524"/>
                  </a:cubicBezTo>
                  <a:cubicBezTo>
                    <a:pt x="7706" y="5524"/>
                    <a:pt x="7948" y="5470"/>
                    <a:pt x="8131" y="5364"/>
                  </a:cubicBezTo>
                  <a:lnTo>
                    <a:pt x="9275" y="4699"/>
                  </a:lnTo>
                  <a:cubicBezTo>
                    <a:pt x="9620" y="4499"/>
                    <a:pt x="9640" y="4177"/>
                    <a:pt x="9336" y="3964"/>
                  </a:cubicBezTo>
                  <a:cubicBezTo>
                    <a:pt x="9812" y="3936"/>
                    <a:pt x="10185" y="3700"/>
                    <a:pt x="10185" y="3416"/>
                  </a:cubicBezTo>
                  <a:lnTo>
                    <a:pt x="10180" y="2478"/>
                  </a:lnTo>
                  <a:cubicBezTo>
                    <a:pt x="10178" y="2331"/>
                    <a:pt x="10079" y="2191"/>
                    <a:pt x="9899" y="2087"/>
                  </a:cubicBezTo>
                  <a:cubicBezTo>
                    <a:pt x="9741" y="1999"/>
                    <a:pt x="9541" y="1943"/>
                    <a:pt x="9323" y="1930"/>
                  </a:cubicBezTo>
                  <a:cubicBezTo>
                    <a:pt x="9627" y="1715"/>
                    <a:pt x="9602" y="1398"/>
                    <a:pt x="9255" y="1195"/>
                  </a:cubicBezTo>
                  <a:lnTo>
                    <a:pt x="8103" y="530"/>
                  </a:lnTo>
                  <a:cubicBezTo>
                    <a:pt x="7918" y="423"/>
                    <a:pt x="7675" y="370"/>
                    <a:pt x="7432" y="370"/>
                  </a:cubicBezTo>
                  <a:cubicBezTo>
                    <a:pt x="7220" y="370"/>
                    <a:pt x="7008" y="411"/>
                    <a:pt x="6835" y="492"/>
                  </a:cubicBezTo>
                  <a:cubicBezTo>
                    <a:pt x="6812" y="368"/>
                    <a:pt x="6716" y="251"/>
                    <a:pt x="6561" y="160"/>
                  </a:cubicBezTo>
                  <a:cubicBezTo>
                    <a:pt x="6379" y="56"/>
                    <a:pt x="6140" y="0"/>
                    <a:pt x="5889"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6" name="Google Shape;1406;p49"/>
            <p:cNvSpPr/>
            <p:nvPr/>
          </p:nvSpPr>
          <p:spPr>
            <a:xfrm>
              <a:off x="5745948" y="3193092"/>
              <a:ext cx="288746" cy="152464"/>
            </a:xfrm>
            <a:custGeom>
              <a:avLst/>
              <a:gdLst/>
              <a:ahLst/>
              <a:cxnLst/>
              <a:rect l="l" t="t" r="r" b="b"/>
              <a:pathLst>
                <a:path w="4657" h="2459" extrusionOk="0">
                  <a:moveTo>
                    <a:pt x="2324" y="334"/>
                  </a:moveTo>
                  <a:cubicBezTo>
                    <a:pt x="2720" y="334"/>
                    <a:pt x="3118" y="421"/>
                    <a:pt x="3421" y="596"/>
                  </a:cubicBezTo>
                  <a:cubicBezTo>
                    <a:pt x="4025" y="946"/>
                    <a:pt x="4027" y="1514"/>
                    <a:pt x="3426" y="1864"/>
                  </a:cubicBezTo>
                  <a:cubicBezTo>
                    <a:pt x="3126" y="2039"/>
                    <a:pt x="2730" y="2127"/>
                    <a:pt x="2334" y="2127"/>
                  </a:cubicBezTo>
                  <a:cubicBezTo>
                    <a:pt x="1938" y="2127"/>
                    <a:pt x="1541" y="2039"/>
                    <a:pt x="1238" y="1864"/>
                  </a:cubicBezTo>
                  <a:cubicBezTo>
                    <a:pt x="631" y="1514"/>
                    <a:pt x="629" y="946"/>
                    <a:pt x="1230" y="596"/>
                  </a:cubicBezTo>
                  <a:cubicBezTo>
                    <a:pt x="1530" y="421"/>
                    <a:pt x="1927" y="334"/>
                    <a:pt x="2324" y="334"/>
                  </a:cubicBezTo>
                  <a:close/>
                  <a:moveTo>
                    <a:pt x="2322" y="1"/>
                  </a:moveTo>
                  <a:cubicBezTo>
                    <a:pt x="1779" y="1"/>
                    <a:pt x="1236" y="121"/>
                    <a:pt x="824" y="360"/>
                  </a:cubicBezTo>
                  <a:cubicBezTo>
                    <a:pt x="0" y="840"/>
                    <a:pt x="3" y="1621"/>
                    <a:pt x="832" y="2100"/>
                  </a:cubicBezTo>
                  <a:cubicBezTo>
                    <a:pt x="1247" y="2339"/>
                    <a:pt x="1789" y="2458"/>
                    <a:pt x="2330" y="2458"/>
                  </a:cubicBezTo>
                  <a:cubicBezTo>
                    <a:pt x="2875" y="2458"/>
                    <a:pt x="3419" y="2338"/>
                    <a:pt x="3832" y="2097"/>
                  </a:cubicBezTo>
                  <a:cubicBezTo>
                    <a:pt x="4656" y="1621"/>
                    <a:pt x="4654" y="840"/>
                    <a:pt x="3824" y="360"/>
                  </a:cubicBezTo>
                  <a:cubicBezTo>
                    <a:pt x="3410" y="121"/>
                    <a:pt x="2866" y="1"/>
                    <a:pt x="2322"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7" name="Google Shape;1407;p49"/>
            <p:cNvSpPr/>
            <p:nvPr/>
          </p:nvSpPr>
          <p:spPr>
            <a:xfrm>
              <a:off x="4575585" y="2504362"/>
              <a:ext cx="2336316" cy="1353267"/>
            </a:xfrm>
            <a:custGeom>
              <a:avLst/>
              <a:gdLst/>
              <a:ahLst/>
              <a:cxnLst/>
              <a:rect l="l" t="t" r="r" b="b"/>
              <a:pathLst>
                <a:path w="37681" h="21826" extrusionOk="0">
                  <a:moveTo>
                    <a:pt x="18780" y="1"/>
                  </a:moveTo>
                  <a:lnTo>
                    <a:pt x="13358" y="3150"/>
                  </a:lnTo>
                  <a:cubicBezTo>
                    <a:pt x="12975" y="3409"/>
                    <a:pt x="13023" y="3787"/>
                    <a:pt x="13411" y="4010"/>
                  </a:cubicBezTo>
                  <a:cubicBezTo>
                    <a:pt x="13512" y="4071"/>
                    <a:pt x="13639" y="4119"/>
                    <a:pt x="13789" y="4152"/>
                  </a:cubicBezTo>
                  <a:cubicBezTo>
                    <a:pt x="14448" y="4297"/>
                    <a:pt x="15067" y="4522"/>
                    <a:pt x="15600" y="4832"/>
                  </a:cubicBezTo>
                  <a:cubicBezTo>
                    <a:pt x="15665" y="4867"/>
                    <a:pt x="15729" y="4908"/>
                    <a:pt x="15790" y="4946"/>
                  </a:cubicBezTo>
                  <a:cubicBezTo>
                    <a:pt x="17570" y="6084"/>
                    <a:pt x="17555" y="7847"/>
                    <a:pt x="15762" y="8970"/>
                  </a:cubicBezTo>
                  <a:cubicBezTo>
                    <a:pt x="14742" y="9610"/>
                    <a:pt x="13363" y="9929"/>
                    <a:pt x="11982" y="9929"/>
                  </a:cubicBezTo>
                  <a:cubicBezTo>
                    <a:pt x="10662" y="9929"/>
                    <a:pt x="9341" y="9638"/>
                    <a:pt x="8331" y="9054"/>
                  </a:cubicBezTo>
                  <a:cubicBezTo>
                    <a:pt x="7799" y="8747"/>
                    <a:pt x="7406" y="8392"/>
                    <a:pt x="7155" y="8012"/>
                  </a:cubicBezTo>
                  <a:cubicBezTo>
                    <a:pt x="7096" y="7925"/>
                    <a:pt x="7010" y="7849"/>
                    <a:pt x="6909" y="7791"/>
                  </a:cubicBezTo>
                  <a:cubicBezTo>
                    <a:pt x="6701" y="7671"/>
                    <a:pt x="6419" y="7607"/>
                    <a:pt x="6134" y="7607"/>
                  </a:cubicBezTo>
                  <a:cubicBezTo>
                    <a:pt x="5883" y="7607"/>
                    <a:pt x="5630" y="7656"/>
                    <a:pt x="5423" y="7761"/>
                  </a:cubicBezTo>
                  <a:lnTo>
                    <a:pt x="1" y="10913"/>
                  </a:lnTo>
                  <a:lnTo>
                    <a:pt x="18904" y="21825"/>
                  </a:lnTo>
                  <a:lnTo>
                    <a:pt x="37680" y="10913"/>
                  </a:lnTo>
                  <a:lnTo>
                    <a:pt x="32281" y="7794"/>
                  </a:lnTo>
                  <a:cubicBezTo>
                    <a:pt x="31721" y="7472"/>
                    <a:pt x="31916" y="6921"/>
                    <a:pt x="32651" y="6756"/>
                  </a:cubicBezTo>
                  <a:cubicBezTo>
                    <a:pt x="33308" y="6612"/>
                    <a:pt x="33922" y="6386"/>
                    <a:pt x="34449" y="6079"/>
                  </a:cubicBezTo>
                  <a:cubicBezTo>
                    <a:pt x="36458" y="4913"/>
                    <a:pt x="36448" y="3021"/>
                    <a:pt x="34427" y="1854"/>
                  </a:cubicBezTo>
                  <a:cubicBezTo>
                    <a:pt x="34378" y="1827"/>
                    <a:pt x="34330" y="1801"/>
                    <a:pt x="34282" y="1773"/>
                  </a:cubicBezTo>
                  <a:cubicBezTo>
                    <a:pt x="33298" y="1248"/>
                    <a:pt x="32035" y="984"/>
                    <a:pt x="30773" y="984"/>
                  </a:cubicBezTo>
                  <a:cubicBezTo>
                    <a:pt x="29538" y="984"/>
                    <a:pt x="28303" y="1237"/>
                    <a:pt x="27333" y="1745"/>
                  </a:cubicBezTo>
                  <a:cubicBezTo>
                    <a:pt x="26702" y="2075"/>
                    <a:pt x="26246" y="2473"/>
                    <a:pt x="25967" y="2902"/>
                  </a:cubicBezTo>
                  <a:cubicBezTo>
                    <a:pt x="25799" y="3161"/>
                    <a:pt x="25381" y="3303"/>
                    <a:pt x="24954" y="3303"/>
                  </a:cubicBezTo>
                  <a:cubicBezTo>
                    <a:pt x="24678" y="3303"/>
                    <a:pt x="24398" y="3244"/>
                    <a:pt x="24179" y="3117"/>
                  </a:cubicBezTo>
                  <a:lnTo>
                    <a:pt x="18780" y="1"/>
                  </a:lnTo>
                  <a:close/>
                </a:path>
              </a:pathLst>
            </a:custGeom>
            <a:solidFill>
              <a:srgbClr val="43CAD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8" name="Google Shape;1408;p49"/>
            <p:cNvSpPr/>
            <p:nvPr/>
          </p:nvSpPr>
          <p:spPr>
            <a:xfrm>
              <a:off x="4622955" y="2531706"/>
              <a:ext cx="2241762" cy="1298518"/>
            </a:xfrm>
            <a:custGeom>
              <a:avLst/>
              <a:gdLst/>
              <a:ahLst/>
              <a:cxnLst/>
              <a:rect l="l" t="t" r="r" b="b"/>
              <a:pathLst>
                <a:path w="36156" h="20943" extrusionOk="0">
                  <a:moveTo>
                    <a:pt x="18016" y="1"/>
                  </a:moveTo>
                  <a:lnTo>
                    <a:pt x="12797" y="3034"/>
                  </a:lnTo>
                  <a:cubicBezTo>
                    <a:pt x="12733" y="3077"/>
                    <a:pt x="12713" y="3113"/>
                    <a:pt x="12710" y="3120"/>
                  </a:cubicBezTo>
                  <a:cubicBezTo>
                    <a:pt x="12713" y="3130"/>
                    <a:pt x="12738" y="3181"/>
                    <a:pt x="12837" y="3239"/>
                  </a:cubicBezTo>
                  <a:cubicBezTo>
                    <a:pt x="12908" y="3280"/>
                    <a:pt x="13002" y="3313"/>
                    <a:pt x="13106" y="3338"/>
                  </a:cubicBezTo>
                  <a:cubicBezTo>
                    <a:pt x="13826" y="3495"/>
                    <a:pt x="14473" y="3739"/>
                    <a:pt x="15028" y="4058"/>
                  </a:cubicBezTo>
                  <a:cubicBezTo>
                    <a:pt x="15097" y="4099"/>
                    <a:pt x="15165" y="4142"/>
                    <a:pt x="15234" y="4185"/>
                  </a:cubicBezTo>
                  <a:cubicBezTo>
                    <a:pt x="16205" y="4807"/>
                    <a:pt x="16738" y="5636"/>
                    <a:pt x="16732" y="6521"/>
                  </a:cubicBezTo>
                  <a:cubicBezTo>
                    <a:pt x="16730" y="7408"/>
                    <a:pt x="16185" y="8238"/>
                    <a:pt x="15201" y="8854"/>
                  </a:cubicBezTo>
                  <a:cubicBezTo>
                    <a:pt x="14156" y="9508"/>
                    <a:pt x="12741" y="9871"/>
                    <a:pt x="11219" y="9871"/>
                  </a:cubicBezTo>
                  <a:cubicBezTo>
                    <a:pt x="9774" y="9871"/>
                    <a:pt x="8409" y="9541"/>
                    <a:pt x="7375" y="8945"/>
                  </a:cubicBezTo>
                  <a:cubicBezTo>
                    <a:pt x="6804" y="8613"/>
                    <a:pt x="6365" y="8222"/>
                    <a:pt x="6071" y="7781"/>
                  </a:cubicBezTo>
                  <a:cubicBezTo>
                    <a:pt x="6048" y="7748"/>
                    <a:pt x="6008" y="7713"/>
                    <a:pt x="5952" y="7680"/>
                  </a:cubicBezTo>
                  <a:cubicBezTo>
                    <a:pt x="5810" y="7599"/>
                    <a:pt x="5592" y="7548"/>
                    <a:pt x="5371" y="7548"/>
                  </a:cubicBezTo>
                  <a:cubicBezTo>
                    <a:pt x="5171" y="7548"/>
                    <a:pt x="4983" y="7586"/>
                    <a:pt x="4839" y="7657"/>
                  </a:cubicBezTo>
                  <a:lnTo>
                    <a:pt x="0" y="10469"/>
                  </a:lnTo>
                  <a:lnTo>
                    <a:pt x="18137" y="20943"/>
                  </a:lnTo>
                  <a:lnTo>
                    <a:pt x="36155" y="10472"/>
                  </a:lnTo>
                  <a:lnTo>
                    <a:pt x="31324" y="7685"/>
                  </a:lnTo>
                  <a:cubicBezTo>
                    <a:pt x="30957" y="7472"/>
                    <a:pt x="30766" y="7137"/>
                    <a:pt x="30820" y="6790"/>
                  </a:cubicBezTo>
                  <a:cubicBezTo>
                    <a:pt x="30883" y="6384"/>
                    <a:pt x="31251" y="6067"/>
                    <a:pt x="31806" y="5943"/>
                  </a:cubicBezTo>
                  <a:cubicBezTo>
                    <a:pt x="32445" y="5803"/>
                    <a:pt x="33013" y="5588"/>
                    <a:pt x="33495" y="5309"/>
                  </a:cubicBezTo>
                  <a:cubicBezTo>
                    <a:pt x="34340" y="4817"/>
                    <a:pt x="34804" y="4188"/>
                    <a:pt x="34804" y="3533"/>
                  </a:cubicBezTo>
                  <a:cubicBezTo>
                    <a:pt x="34801" y="2874"/>
                    <a:pt x="34330" y="2240"/>
                    <a:pt x="33470" y="1743"/>
                  </a:cubicBezTo>
                  <a:cubicBezTo>
                    <a:pt x="33427" y="1718"/>
                    <a:pt x="33384" y="1695"/>
                    <a:pt x="33338" y="1670"/>
                  </a:cubicBezTo>
                  <a:cubicBezTo>
                    <a:pt x="32440" y="1190"/>
                    <a:pt x="31258" y="924"/>
                    <a:pt x="30011" y="924"/>
                  </a:cubicBezTo>
                  <a:cubicBezTo>
                    <a:pt x="28788" y="924"/>
                    <a:pt x="27629" y="1180"/>
                    <a:pt x="26747" y="1642"/>
                  </a:cubicBezTo>
                  <a:cubicBezTo>
                    <a:pt x="26197" y="1928"/>
                    <a:pt x="25773" y="2286"/>
                    <a:pt x="25522" y="2669"/>
                  </a:cubicBezTo>
                  <a:cubicBezTo>
                    <a:pt x="25246" y="3092"/>
                    <a:pt x="24652" y="3244"/>
                    <a:pt x="24191" y="3244"/>
                  </a:cubicBezTo>
                  <a:cubicBezTo>
                    <a:pt x="23833" y="3244"/>
                    <a:pt x="23491" y="3161"/>
                    <a:pt x="23225" y="3009"/>
                  </a:cubicBezTo>
                  <a:lnTo>
                    <a:pt x="18016" y="1"/>
                  </a:lnTo>
                  <a:close/>
                </a:path>
              </a:pathLst>
            </a:custGeom>
            <a:solidFill>
              <a:srgbClr val="43CAD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9" name="Google Shape;1409;p49"/>
            <p:cNvSpPr/>
            <p:nvPr/>
          </p:nvSpPr>
          <p:spPr>
            <a:xfrm>
              <a:off x="5747002" y="3180939"/>
              <a:ext cx="1164903" cy="880746"/>
            </a:xfrm>
            <a:custGeom>
              <a:avLst/>
              <a:gdLst/>
              <a:ahLst/>
              <a:cxnLst/>
              <a:rect l="l" t="t" r="r" b="b"/>
              <a:pathLst>
                <a:path w="18788" h="14205" extrusionOk="0">
                  <a:moveTo>
                    <a:pt x="18787" y="1"/>
                  </a:moveTo>
                  <a:lnTo>
                    <a:pt x="11" y="10913"/>
                  </a:lnTo>
                  <a:lnTo>
                    <a:pt x="1" y="14205"/>
                  </a:lnTo>
                  <a:lnTo>
                    <a:pt x="18777" y="3293"/>
                  </a:lnTo>
                  <a:lnTo>
                    <a:pt x="18787" y="1"/>
                  </a:lnTo>
                  <a:close/>
                </a:path>
              </a:pathLst>
            </a:custGeom>
            <a:solidFill>
              <a:srgbClr val="22656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0" name="Google Shape;1410;p49"/>
            <p:cNvSpPr/>
            <p:nvPr/>
          </p:nvSpPr>
          <p:spPr>
            <a:xfrm>
              <a:off x="4575151" y="3180939"/>
              <a:ext cx="1172529" cy="880746"/>
            </a:xfrm>
            <a:custGeom>
              <a:avLst/>
              <a:gdLst/>
              <a:ahLst/>
              <a:cxnLst/>
              <a:rect l="l" t="t" r="r" b="b"/>
              <a:pathLst>
                <a:path w="18911" h="14205" extrusionOk="0">
                  <a:moveTo>
                    <a:pt x="8" y="1"/>
                  </a:moveTo>
                  <a:lnTo>
                    <a:pt x="0" y="3293"/>
                  </a:lnTo>
                  <a:lnTo>
                    <a:pt x="18901" y="14205"/>
                  </a:lnTo>
                  <a:lnTo>
                    <a:pt x="18911" y="10913"/>
                  </a:lnTo>
                  <a:lnTo>
                    <a:pt x="8" y="1"/>
                  </a:lnTo>
                  <a:close/>
                </a:path>
              </a:pathLst>
            </a:custGeom>
            <a:solidFill>
              <a:srgbClr val="22656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1" name="Google Shape;1411;p49"/>
            <p:cNvSpPr/>
            <p:nvPr/>
          </p:nvSpPr>
          <p:spPr>
            <a:xfrm>
              <a:off x="2522426" y="2468525"/>
              <a:ext cx="104164" cy="20647"/>
            </a:xfrm>
            <a:custGeom>
              <a:avLst/>
              <a:gdLst/>
              <a:ahLst/>
              <a:cxnLst/>
              <a:rect l="l" t="t" r="r" b="b"/>
              <a:pathLst>
                <a:path w="1680" h="333" extrusionOk="0">
                  <a:moveTo>
                    <a:pt x="287" y="0"/>
                  </a:moveTo>
                  <a:cubicBezTo>
                    <a:pt x="127" y="0"/>
                    <a:pt x="0" y="74"/>
                    <a:pt x="0" y="165"/>
                  </a:cubicBezTo>
                  <a:cubicBezTo>
                    <a:pt x="0" y="211"/>
                    <a:pt x="33" y="254"/>
                    <a:pt x="84" y="284"/>
                  </a:cubicBezTo>
                  <a:cubicBezTo>
                    <a:pt x="137" y="312"/>
                    <a:pt x="208" y="333"/>
                    <a:pt x="287" y="333"/>
                  </a:cubicBezTo>
                  <a:lnTo>
                    <a:pt x="1395" y="333"/>
                  </a:lnTo>
                  <a:cubicBezTo>
                    <a:pt x="1552" y="333"/>
                    <a:pt x="1679" y="257"/>
                    <a:pt x="1679" y="165"/>
                  </a:cubicBezTo>
                  <a:cubicBezTo>
                    <a:pt x="1679" y="120"/>
                    <a:pt x="1646" y="79"/>
                    <a:pt x="1595" y="49"/>
                  </a:cubicBezTo>
                  <a:cubicBezTo>
                    <a:pt x="1542" y="18"/>
                    <a:pt x="1471" y="0"/>
                    <a:pt x="1392"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2" name="Google Shape;1412;p49"/>
            <p:cNvSpPr/>
            <p:nvPr/>
          </p:nvSpPr>
          <p:spPr>
            <a:xfrm>
              <a:off x="1859989" y="2468525"/>
              <a:ext cx="104102" cy="20647"/>
            </a:xfrm>
            <a:custGeom>
              <a:avLst/>
              <a:gdLst/>
              <a:ahLst/>
              <a:cxnLst/>
              <a:rect l="l" t="t" r="r" b="b"/>
              <a:pathLst>
                <a:path w="1679" h="333" extrusionOk="0">
                  <a:moveTo>
                    <a:pt x="287" y="0"/>
                  </a:moveTo>
                  <a:cubicBezTo>
                    <a:pt x="127" y="0"/>
                    <a:pt x="0" y="74"/>
                    <a:pt x="0" y="165"/>
                  </a:cubicBezTo>
                  <a:cubicBezTo>
                    <a:pt x="0" y="211"/>
                    <a:pt x="33" y="254"/>
                    <a:pt x="84" y="284"/>
                  </a:cubicBezTo>
                  <a:cubicBezTo>
                    <a:pt x="137" y="312"/>
                    <a:pt x="208" y="333"/>
                    <a:pt x="287" y="333"/>
                  </a:cubicBezTo>
                  <a:lnTo>
                    <a:pt x="1392" y="333"/>
                  </a:lnTo>
                  <a:cubicBezTo>
                    <a:pt x="1552" y="333"/>
                    <a:pt x="1679" y="257"/>
                    <a:pt x="1679" y="165"/>
                  </a:cubicBezTo>
                  <a:cubicBezTo>
                    <a:pt x="1679" y="120"/>
                    <a:pt x="1646" y="79"/>
                    <a:pt x="1595" y="49"/>
                  </a:cubicBezTo>
                  <a:cubicBezTo>
                    <a:pt x="1542" y="18"/>
                    <a:pt x="1471" y="0"/>
                    <a:pt x="1392"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3" name="Google Shape;1413;p49"/>
            <p:cNvSpPr/>
            <p:nvPr/>
          </p:nvSpPr>
          <p:spPr>
            <a:xfrm>
              <a:off x="2432956" y="2318726"/>
              <a:ext cx="87486" cy="48796"/>
            </a:xfrm>
            <a:custGeom>
              <a:avLst/>
              <a:gdLst/>
              <a:ahLst/>
              <a:cxnLst/>
              <a:rect l="l" t="t" r="r" b="b"/>
              <a:pathLst>
                <a:path w="1411" h="787" extrusionOk="0">
                  <a:moveTo>
                    <a:pt x="1095" y="1"/>
                  </a:moveTo>
                  <a:cubicBezTo>
                    <a:pt x="1022" y="1"/>
                    <a:pt x="949" y="17"/>
                    <a:pt x="893" y="50"/>
                  </a:cubicBezTo>
                  <a:lnTo>
                    <a:pt x="114" y="502"/>
                  </a:lnTo>
                  <a:cubicBezTo>
                    <a:pt x="0" y="568"/>
                    <a:pt x="3" y="672"/>
                    <a:pt x="114" y="738"/>
                  </a:cubicBezTo>
                  <a:cubicBezTo>
                    <a:pt x="171" y="770"/>
                    <a:pt x="245" y="786"/>
                    <a:pt x="319" y="786"/>
                  </a:cubicBezTo>
                  <a:cubicBezTo>
                    <a:pt x="392" y="786"/>
                    <a:pt x="465" y="770"/>
                    <a:pt x="520" y="738"/>
                  </a:cubicBezTo>
                  <a:lnTo>
                    <a:pt x="1299" y="284"/>
                  </a:lnTo>
                  <a:cubicBezTo>
                    <a:pt x="1410" y="220"/>
                    <a:pt x="1410" y="114"/>
                    <a:pt x="1299" y="50"/>
                  </a:cubicBezTo>
                  <a:cubicBezTo>
                    <a:pt x="1242" y="17"/>
                    <a:pt x="1168" y="1"/>
                    <a:pt x="1095"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4" name="Google Shape;1414;p49"/>
            <p:cNvSpPr/>
            <p:nvPr/>
          </p:nvSpPr>
          <p:spPr>
            <a:xfrm>
              <a:off x="1966075" y="2590175"/>
              <a:ext cx="87486" cy="48672"/>
            </a:xfrm>
            <a:custGeom>
              <a:avLst/>
              <a:gdLst/>
              <a:ahLst/>
              <a:cxnLst/>
              <a:rect l="l" t="t" r="r" b="b"/>
              <a:pathLst>
                <a:path w="1411" h="785" extrusionOk="0">
                  <a:moveTo>
                    <a:pt x="1094" y="0"/>
                  </a:moveTo>
                  <a:cubicBezTo>
                    <a:pt x="1022" y="0"/>
                    <a:pt x="949" y="16"/>
                    <a:pt x="894" y="49"/>
                  </a:cubicBezTo>
                  <a:lnTo>
                    <a:pt x="113" y="501"/>
                  </a:lnTo>
                  <a:cubicBezTo>
                    <a:pt x="1" y="567"/>
                    <a:pt x="1" y="671"/>
                    <a:pt x="113" y="737"/>
                  </a:cubicBezTo>
                  <a:cubicBezTo>
                    <a:pt x="168" y="768"/>
                    <a:pt x="242" y="784"/>
                    <a:pt x="315" y="784"/>
                  </a:cubicBezTo>
                  <a:cubicBezTo>
                    <a:pt x="389" y="784"/>
                    <a:pt x="463" y="768"/>
                    <a:pt x="518" y="737"/>
                  </a:cubicBezTo>
                  <a:lnTo>
                    <a:pt x="1299" y="283"/>
                  </a:lnTo>
                  <a:cubicBezTo>
                    <a:pt x="1411" y="217"/>
                    <a:pt x="1408" y="113"/>
                    <a:pt x="1297" y="49"/>
                  </a:cubicBezTo>
                  <a:cubicBezTo>
                    <a:pt x="1240" y="16"/>
                    <a:pt x="1167" y="0"/>
                    <a:pt x="1094"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5" name="Google Shape;1415;p49"/>
            <p:cNvSpPr/>
            <p:nvPr/>
          </p:nvSpPr>
          <p:spPr>
            <a:xfrm>
              <a:off x="2434382" y="2590175"/>
              <a:ext cx="87796" cy="48672"/>
            </a:xfrm>
            <a:custGeom>
              <a:avLst/>
              <a:gdLst/>
              <a:ahLst/>
              <a:cxnLst/>
              <a:rect l="l" t="t" r="r" b="b"/>
              <a:pathLst>
                <a:path w="1416" h="785" extrusionOk="0">
                  <a:moveTo>
                    <a:pt x="315" y="0"/>
                  </a:moveTo>
                  <a:cubicBezTo>
                    <a:pt x="242" y="0"/>
                    <a:pt x="170" y="16"/>
                    <a:pt x="114" y="49"/>
                  </a:cubicBezTo>
                  <a:cubicBezTo>
                    <a:pt x="3" y="113"/>
                    <a:pt x="0" y="217"/>
                    <a:pt x="114" y="283"/>
                  </a:cubicBezTo>
                  <a:lnTo>
                    <a:pt x="898" y="737"/>
                  </a:lnTo>
                  <a:cubicBezTo>
                    <a:pt x="954" y="768"/>
                    <a:pt x="1027" y="784"/>
                    <a:pt x="1101" y="784"/>
                  </a:cubicBezTo>
                  <a:cubicBezTo>
                    <a:pt x="1174" y="784"/>
                    <a:pt x="1248" y="768"/>
                    <a:pt x="1304" y="737"/>
                  </a:cubicBezTo>
                  <a:cubicBezTo>
                    <a:pt x="1415" y="671"/>
                    <a:pt x="1415" y="567"/>
                    <a:pt x="1301" y="501"/>
                  </a:cubicBezTo>
                  <a:lnTo>
                    <a:pt x="517" y="49"/>
                  </a:lnTo>
                  <a:cubicBezTo>
                    <a:pt x="460" y="16"/>
                    <a:pt x="387" y="0"/>
                    <a:pt x="315"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6" name="Google Shape;1416;p49"/>
            <p:cNvSpPr/>
            <p:nvPr/>
          </p:nvSpPr>
          <p:spPr>
            <a:xfrm>
              <a:off x="1964401" y="2318726"/>
              <a:ext cx="87796" cy="48796"/>
            </a:xfrm>
            <a:custGeom>
              <a:avLst/>
              <a:gdLst/>
              <a:ahLst/>
              <a:cxnLst/>
              <a:rect l="l" t="t" r="r" b="b"/>
              <a:pathLst>
                <a:path w="1416" h="787" extrusionOk="0">
                  <a:moveTo>
                    <a:pt x="315" y="1"/>
                  </a:moveTo>
                  <a:cubicBezTo>
                    <a:pt x="241" y="1"/>
                    <a:pt x="167" y="17"/>
                    <a:pt x="112" y="50"/>
                  </a:cubicBezTo>
                  <a:cubicBezTo>
                    <a:pt x="0" y="114"/>
                    <a:pt x="3" y="220"/>
                    <a:pt x="114" y="284"/>
                  </a:cubicBezTo>
                  <a:lnTo>
                    <a:pt x="898" y="738"/>
                  </a:lnTo>
                  <a:cubicBezTo>
                    <a:pt x="954" y="770"/>
                    <a:pt x="1027" y="786"/>
                    <a:pt x="1099" y="786"/>
                  </a:cubicBezTo>
                  <a:cubicBezTo>
                    <a:pt x="1173" y="786"/>
                    <a:pt x="1247" y="770"/>
                    <a:pt x="1304" y="738"/>
                  </a:cubicBezTo>
                  <a:cubicBezTo>
                    <a:pt x="1415" y="672"/>
                    <a:pt x="1415" y="568"/>
                    <a:pt x="1301" y="504"/>
                  </a:cubicBezTo>
                  <a:lnTo>
                    <a:pt x="517" y="50"/>
                  </a:lnTo>
                  <a:cubicBezTo>
                    <a:pt x="462" y="17"/>
                    <a:pt x="388" y="1"/>
                    <a:pt x="315"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7" name="Google Shape;1417;p49"/>
            <p:cNvSpPr/>
            <p:nvPr/>
          </p:nvSpPr>
          <p:spPr>
            <a:xfrm>
              <a:off x="1982134" y="2329328"/>
              <a:ext cx="520077" cy="374929"/>
            </a:xfrm>
            <a:custGeom>
              <a:avLst/>
              <a:gdLst/>
              <a:ahLst/>
              <a:cxnLst/>
              <a:rect l="l" t="t" r="r" b="b"/>
              <a:pathLst>
                <a:path w="8388" h="6047" extrusionOk="0">
                  <a:moveTo>
                    <a:pt x="4203" y="333"/>
                  </a:moveTo>
                  <a:cubicBezTo>
                    <a:pt x="5126" y="333"/>
                    <a:pt x="6001" y="534"/>
                    <a:pt x="6675" y="904"/>
                  </a:cubicBezTo>
                  <a:cubicBezTo>
                    <a:pt x="6701" y="917"/>
                    <a:pt x="6723" y="929"/>
                    <a:pt x="6749" y="944"/>
                  </a:cubicBezTo>
                  <a:cubicBezTo>
                    <a:pt x="7431" y="1338"/>
                    <a:pt x="7806" y="1857"/>
                    <a:pt x="7806" y="2415"/>
                  </a:cubicBezTo>
                  <a:cubicBezTo>
                    <a:pt x="7811" y="3191"/>
                    <a:pt x="7076" y="3899"/>
                    <a:pt x="5887" y="4262"/>
                  </a:cubicBezTo>
                  <a:cubicBezTo>
                    <a:pt x="5547" y="4363"/>
                    <a:pt x="5339" y="4566"/>
                    <a:pt x="5339" y="4792"/>
                  </a:cubicBezTo>
                  <a:lnTo>
                    <a:pt x="5344" y="5507"/>
                  </a:lnTo>
                  <a:cubicBezTo>
                    <a:pt x="5344" y="5621"/>
                    <a:pt x="5182" y="5715"/>
                    <a:pt x="4984" y="5715"/>
                  </a:cubicBezTo>
                  <a:lnTo>
                    <a:pt x="3475" y="5715"/>
                  </a:lnTo>
                  <a:cubicBezTo>
                    <a:pt x="3376" y="5715"/>
                    <a:pt x="3287" y="5692"/>
                    <a:pt x="3221" y="5654"/>
                  </a:cubicBezTo>
                  <a:cubicBezTo>
                    <a:pt x="3158" y="5616"/>
                    <a:pt x="3115" y="5565"/>
                    <a:pt x="3115" y="5507"/>
                  </a:cubicBezTo>
                  <a:lnTo>
                    <a:pt x="3112" y="4784"/>
                  </a:lnTo>
                  <a:cubicBezTo>
                    <a:pt x="3112" y="4627"/>
                    <a:pt x="2998" y="4480"/>
                    <a:pt x="2808" y="4368"/>
                  </a:cubicBezTo>
                  <a:cubicBezTo>
                    <a:pt x="2732" y="4325"/>
                    <a:pt x="2646" y="4287"/>
                    <a:pt x="2547" y="4256"/>
                  </a:cubicBezTo>
                  <a:cubicBezTo>
                    <a:pt x="2215" y="4155"/>
                    <a:pt x="1920" y="4028"/>
                    <a:pt x="1667" y="3884"/>
                  </a:cubicBezTo>
                  <a:cubicBezTo>
                    <a:pt x="967" y="3478"/>
                    <a:pt x="579" y="2923"/>
                    <a:pt x="617" y="2327"/>
                  </a:cubicBezTo>
                  <a:cubicBezTo>
                    <a:pt x="688" y="1269"/>
                    <a:pt x="2174" y="394"/>
                    <a:pt x="3997" y="336"/>
                  </a:cubicBezTo>
                  <a:cubicBezTo>
                    <a:pt x="4066" y="333"/>
                    <a:pt x="4134" y="333"/>
                    <a:pt x="4203" y="333"/>
                  </a:cubicBezTo>
                  <a:close/>
                  <a:moveTo>
                    <a:pt x="4196" y="0"/>
                  </a:moveTo>
                  <a:cubicBezTo>
                    <a:pt x="4120" y="0"/>
                    <a:pt x="4044" y="1"/>
                    <a:pt x="3967" y="4"/>
                  </a:cubicBezTo>
                  <a:cubicBezTo>
                    <a:pt x="1849" y="70"/>
                    <a:pt x="125" y="1087"/>
                    <a:pt x="46" y="2314"/>
                  </a:cubicBezTo>
                  <a:cubicBezTo>
                    <a:pt x="1" y="3004"/>
                    <a:pt x="449" y="3648"/>
                    <a:pt x="1258" y="4114"/>
                  </a:cubicBezTo>
                  <a:cubicBezTo>
                    <a:pt x="1553" y="4287"/>
                    <a:pt x="1898" y="4431"/>
                    <a:pt x="2280" y="4551"/>
                  </a:cubicBezTo>
                  <a:cubicBezTo>
                    <a:pt x="2326" y="4563"/>
                    <a:pt x="2367" y="4581"/>
                    <a:pt x="2402" y="4601"/>
                  </a:cubicBezTo>
                  <a:cubicBezTo>
                    <a:pt x="2488" y="4652"/>
                    <a:pt x="2539" y="4715"/>
                    <a:pt x="2539" y="4784"/>
                  </a:cubicBezTo>
                  <a:lnTo>
                    <a:pt x="2542" y="5507"/>
                  </a:lnTo>
                  <a:cubicBezTo>
                    <a:pt x="2544" y="5656"/>
                    <a:pt x="2648" y="5791"/>
                    <a:pt x="2818" y="5890"/>
                  </a:cubicBezTo>
                  <a:cubicBezTo>
                    <a:pt x="2988" y="5986"/>
                    <a:pt x="3221" y="6047"/>
                    <a:pt x="3477" y="6047"/>
                  </a:cubicBezTo>
                  <a:lnTo>
                    <a:pt x="4986" y="6047"/>
                  </a:lnTo>
                  <a:cubicBezTo>
                    <a:pt x="5501" y="6047"/>
                    <a:pt x="5917" y="5803"/>
                    <a:pt x="5917" y="5507"/>
                  </a:cubicBezTo>
                  <a:lnTo>
                    <a:pt x="5912" y="4792"/>
                  </a:lnTo>
                  <a:cubicBezTo>
                    <a:pt x="5912" y="4690"/>
                    <a:pt x="6003" y="4599"/>
                    <a:pt x="6153" y="4556"/>
                  </a:cubicBezTo>
                  <a:cubicBezTo>
                    <a:pt x="7532" y="4135"/>
                    <a:pt x="8387" y="3316"/>
                    <a:pt x="8382" y="2415"/>
                  </a:cubicBezTo>
                  <a:cubicBezTo>
                    <a:pt x="8377" y="1769"/>
                    <a:pt x="7943" y="1165"/>
                    <a:pt x="7155" y="711"/>
                  </a:cubicBezTo>
                  <a:cubicBezTo>
                    <a:pt x="7127" y="693"/>
                    <a:pt x="7096" y="678"/>
                    <a:pt x="7068" y="663"/>
                  </a:cubicBezTo>
                  <a:cubicBezTo>
                    <a:pt x="6282" y="232"/>
                    <a:pt x="5269" y="0"/>
                    <a:pt x="4196"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8" name="Google Shape;1418;p49"/>
            <p:cNvSpPr/>
            <p:nvPr/>
          </p:nvSpPr>
          <p:spPr>
            <a:xfrm>
              <a:off x="2224317" y="2256723"/>
              <a:ext cx="35899" cy="60452"/>
            </a:xfrm>
            <a:custGeom>
              <a:avLst/>
              <a:gdLst/>
              <a:ahLst/>
              <a:cxnLst/>
              <a:rect l="l" t="t" r="r" b="b"/>
              <a:pathLst>
                <a:path w="579" h="975" extrusionOk="0">
                  <a:moveTo>
                    <a:pt x="287" y="1"/>
                  </a:moveTo>
                  <a:cubicBezTo>
                    <a:pt x="127" y="1"/>
                    <a:pt x="0" y="77"/>
                    <a:pt x="0" y="168"/>
                  </a:cubicBezTo>
                  <a:lnTo>
                    <a:pt x="3" y="807"/>
                  </a:lnTo>
                  <a:cubicBezTo>
                    <a:pt x="3" y="853"/>
                    <a:pt x="36" y="896"/>
                    <a:pt x="89" y="926"/>
                  </a:cubicBezTo>
                  <a:cubicBezTo>
                    <a:pt x="139" y="954"/>
                    <a:pt x="210" y="974"/>
                    <a:pt x="292" y="974"/>
                  </a:cubicBezTo>
                  <a:cubicBezTo>
                    <a:pt x="451" y="974"/>
                    <a:pt x="578" y="901"/>
                    <a:pt x="576" y="807"/>
                  </a:cubicBezTo>
                  <a:lnTo>
                    <a:pt x="573" y="168"/>
                  </a:lnTo>
                  <a:cubicBezTo>
                    <a:pt x="571" y="122"/>
                    <a:pt x="540" y="79"/>
                    <a:pt x="487" y="49"/>
                  </a:cubicBezTo>
                  <a:cubicBezTo>
                    <a:pt x="436" y="21"/>
                    <a:pt x="365" y="1"/>
                    <a:pt x="287"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9" name="Google Shape;1419;p49"/>
            <p:cNvSpPr/>
            <p:nvPr/>
          </p:nvSpPr>
          <p:spPr>
            <a:xfrm>
              <a:off x="3264723" y="3052035"/>
              <a:ext cx="641106" cy="370651"/>
            </a:xfrm>
            <a:custGeom>
              <a:avLst/>
              <a:gdLst/>
              <a:ahLst/>
              <a:cxnLst/>
              <a:rect l="l" t="t" r="r" b="b"/>
              <a:pathLst>
                <a:path w="10340" h="5978" extrusionOk="0">
                  <a:moveTo>
                    <a:pt x="5156" y="330"/>
                  </a:moveTo>
                  <a:cubicBezTo>
                    <a:pt x="6419" y="330"/>
                    <a:pt x="7568" y="629"/>
                    <a:pt x="8402" y="1111"/>
                  </a:cubicBezTo>
                  <a:cubicBezTo>
                    <a:pt x="9236" y="1590"/>
                    <a:pt x="9754" y="2255"/>
                    <a:pt x="9759" y="2988"/>
                  </a:cubicBezTo>
                  <a:cubicBezTo>
                    <a:pt x="9766" y="4454"/>
                    <a:pt x="7715" y="5645"/>
                    <a:pt x="5187" y="5645"/>
                  </a:cubicBezTo>
                  <a:cubicBezTo>
                    <a:pt x="3921" y="5645"/>
                    <a:pt x="2772" y="5349"/>
                    <a:pt x="1938" y="4867"/>
                  </a:cubicBezTo>
                  <a:cubicBezTo>
                    <a:pt x="1106" y="4385"/>
                    <a:pt x="586" y="3721"/>
                    <a:pt x="581" y="2988"/>
                  </a:cubicBezTo>
                  <a:cubicBezTo>
                    <a:pt x="576" y="1524"/>
                    <a:pt x="2625" y="333"/>
                    <a:pt x="5156" y="330"/>
                  </a:cubicBezTo>
                  <a:close/>
                  <a:moveTo>
                    <a:pt x="5170" y="0"/>
                  </a:moveTo>
                  <a:cubicBezTo>
                    <a:pt x="5164" y="0"/>
                    <a:pt x="5159" y="0"/>
                    <a:pt x="5154" y="0"/>
                  </a:cubicBezTo>
                  <a:cubicBezTo>
                    <a:pt x="2308" y="0"/>
                    <a:pt x="0" y="1339"/>
                    <a:pt x="11" y="2988"/>
                  </a:cubicBezTo>
                  <a:cubicBezTo>
                    <a:pt x="13" y="3812"/>
                    <a:pt x="596" y="4560"/>
                    <a:pt x="1535" y="5100"/>
                  </a:cubicBezTo>
                  <a:cubicBezTo>
                    <a:pt x="2473" y="5643"/>
                    <a:pt x="3764" y="5978"/>
                    <a:pt x="5187" y="5978"/>
                  </a:cubicBezTo>
                  <a:cubicBezTo>
                    <a:pt x="8032" y="5978"/>
                    <a:pt x="10340" y="4636"/>
                    <a:pt x="10332" y="2988"/>
                  </a:cubicBezTo>
                  <a:cubicBezTo>
                    <a:pt x="10327" y="2164"/>
                    <a:pt x="9744" y="1418"/>
                    <a:pt x="8805" y="875"/>
                  </a:cubicBezTo>
                  <a:cubicBezTo>
                    <a:pt x="7873" y="337"/>
                    <a:pt x="6586" y="0"/>
                    <a:pt x="5170"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0" name="Google Shape;1420;p49"/>
            <p:cNvSpPr/>
            <p:nvPr/>
          </p:nvSpPr>
          <p:spPr>
            <a:xfrm>
              <a:off x="3566614" y="3081610"/>
              <a:ext cx="35899" cy="38070"/>
            </a:xfrm>
            <a:custGeom>
              <a:avLst/>
              <a:gdLst/>
              <a:ahLst/>
              <a:cxnLst/>
              <a:rect l="l" t="t" r="r" b="b"/>
              <a:pathLst>
                <a:path w="579" h="614" extrusionOk="0">
                  <a:moveTo>
                    <a:pt x="287" y="0"/>
                  </a:moveTo>
                  <a:cubicBezTo>
                    <a:pt x="130" y="0"/>
                    <a:pt x="1" y="74"/>
                    <a:pt x="1" y="165"/>
                  </a:cubicBezTo>
                  <a:lnTo>
                    <a:pt x="3" y="449"/>
                  </a:lnTo>
                  <a:cubicBezTo>
                    <a:pt x="3" y="495"/>
                    <a:pt x="36" y="535"/>
                    <a:pt x="89" y="566"/>
                  </a:cubicBezTo>
                  <a:cubicBezTo>
                    <a:pt x="140" y="596"/>
                    <a:pt x="214" y="614"/>
                    <a:pt x="292" y="614"/>
                  </a:cubicBezTo>
                  <a:cubicBezTo>
                    <a:pt x="449" y="614"/>
                    <a:pt x="579" y="540"/>
                    <a:pt x="576" y="449"/>
                  </a:cubicBezTo>
                  <a:lnTo>
                    <a:pt x="574" y="165"/>
                  </a:lnTo>
                  <a:cubicBezTo>
                    <a:pt x="574" y="119"/>
                    <a:pt x="543" y="79"/>
                    <a:pt x="490" y="48"/>
                  </a:cubicBezTo>
                  <a:cubicBezTo>
                    <a:pt x="439" y="18"/>
                    <a:pt x="366" y="0"/>
                    <a:pt x="287"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1" name="Google Shape;1421;p49"/>
            <p:cNvSpPr/>
            <p:nvPr/>
          </p:nvSpPr>
          <p:spPr>
            <a:xfrm>
              <a:off x="3568164" y="3354858"/>
              <a:ext cx="35775" cy="38256"/>
            </a:xfrm>
            <a:custGeom>
              <a:avLst/>
              <a:gdLst/>
              <a:ahLst/>
              <a:cxnLst/>
              <a:rect l="l" t="t" r="r" b="b"/>
              <a:pathLst>
                <a:path w="577" h="617" extrusionOk="0">
                  <a:moveTo>
                    <a:pt x="287" y="1"/>
                  </a:moveTo>
                  <a:cubicBezTo>
                    <a:pt x="128" y="1"/>
                    <a:pt x="1" y="74"/>
                    <a:pt x="1" y="165"/>
                  </a:cubicBezTo>
                  <a:lnTo>
                    <a:pt x="3" y="452"/>
                  </a:lnTo>
                  <a:cubicBezTo>
                    <a:pt x="3" y="498"/>
                    <a:pt x="36" y="538"/>
                    <a:pt x="87" y="569"/>
                  </a:cubicBezTo>
                  <a:cubicBezTo>
                    <a:pt x="140" y="599"/>
                    <a:pt x="211" y="617"/>
                    <a:pt x="290" y="617"/>
                  </a:cubicBezTo>
                  <a:cubicBezTo>
                    <a:pt x="450" y="617"/>
                    <a:pt x="577" y="543"/>
                    <a:pt x="577" y="449"/>
                  </a:cubicBezTo>
                  <a:lnTo>
                    <a:pt x="574" y="168"/>
                  </a:lnTo>
                  <a:cubicBezTo>
                    <a:pt x="574" y="122"/>
                    <a:pt x="541" y="79"/>
                    <a:pt x="490" y="49"/>
                  </a:cubicBezTo>
                  <a:cubicBezTo>
                    <a:pt x="437" y="21"/>
                    <a:pt x="366" y="1"/>
                    <a:pt x="287"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2" name="Google Shape;1422;p49"/>
            <p:cNvSpPr/>
            <p:nvPr/>
          </p:nvSpPr>
          <p:spPr>
            <a:xfrm>
              <a:off x="3788336" y="3227007"/>
              <a:ext cx="65909" cy="20709"/>
            </a:xfrm>
            <a:custGeom>
              <a:avLst/>
              <a:gdLst/>
              <a:ahLst/>
              <a:cxnLst/>
              <a:rect l="l" t="t" r="r" b="b"/>
              <a:pathLst>
                <a:path w="1063" h="334" extrusionOk="0">
                  <a:moveTo>
                    <a:pt x="287" y="1"/>
                  </a:moveTo>
                  <a:cubicBezTo>
                    <a:pt x="127" y="1"/>
                    <a:pt x="0" y="74"/>
                    <a:pt x="0" y="166"/>
                  </a:cubicBezTo>
                  <a:cubicBezTo>
                    <a:pt x="0" y="211"/>
                    <a:pt x="33" y="254"/>
                    <a:pt x="84" y="282"/>
                  </a:cubicBezTo>
                  <a:cubicBezTo>
                    <a:pt x="137" y="313"/>
                    <a:pt x="208" y="333"/>
                    <a:pt x="287" y="333"/>
                  </a:cubicBezTo>
                  <a:lnTo>
                    <a:pt x="776" y="333"/>
                  </a:lnTo>
                  <a:cubicBezTo>
                    <a:pt x="936" y="333"/>
                    <a:pt x="1063" y="260"/>
                    <a:pt x="1063" y="166"/>
                  </a:cubicBezTo>
                  <a:cubicBezTo>
                    <a:pt x="1063" y="120"/>
                    <a:pt x="1030" y="79"/>
                    <a:pt x="977" y="49"/>
                  </a:cubicBezTo>
                  <a:cubicBezTo>
                    <a:pt x="926" y="19"/>
                    <a:pt x="855" y="1"/>
                    <a:pt x="776"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3" name="Google Shape;1423;p49"/>
            <p:cNvSpPr/>
            <p:nvPr/>
          </p:nvSpPr>
          <p:spPr>
            <a:xfrm>
              <a:off x="3316309" y="3227007"/>
              <a:ext cx="66095" cy="20709"/>
            </a:xfrm>
            <a:custGeom>
              <a:avLst/>
              <a:gdLst/>
              <a:ahLst/>
              <a:cxnLst/>
              <a:rect l="l" t="t" r="r" b="b"/>
              <a:pathLst>
                <a:path w="1066" h="334" extrusionOk="0">
                  <a:moveTo>
                    <a:pt x="287" y="1"/>
                  </a:moveTo>
                  <a:cubicBezTo>
                    <a:pt x="130" y="1"/>
                    <a:pt x="0" y="74"/>
                    <a:pt x="0" y="166"/>
                  </a:cubicBezTo>
                  <a:cubicBezTo>
                    <a:pt x="3" y="211"/>
                    <a:pt x="33" y="254"/>
                    <a:pt x="87" y="285"/>
                  </a:cubicBezTo>
                  <a:cubicBezTo>
                    <a:pt x="137" y="313"/>
                    <a:pt x="211" y="333"/>
                    <a:pt x="289" y="333"/>
                  </a:cubicBezTo>
                  <a:lnTo>
                    <a:pt x="779" y="333"/>
                  </a:lnTo>
                  <a:cubicBezTo>
                    <a:pt x="939" y="333"/>
                    <a:pt x="1065" y="260"/>
                    <a:pt x="1063" y="166"/>
                  </a:cubicBezTo>
                  <a:cubicBezTo>
                    <a:pt x="1063" y="120"/>
                    <a:pt x="1032" y="79"/>
                    <a:pt x="979" y="49"/>
                  </a:cubicBezTo>
                  <a:cubicBezTo>
                    <a:pt x="926" y="19"/>
                    <a:pt x="855" y="1"/>
                    <a:pt x="776"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4" name="Google Shape;1424;p49"/>
            <p:cNvSpPr/>
            <p:nvPr/>
          </p:nvSpPr>
          <p:spPr>
            <a:xfrm>
              <a:off x="3566924" y="3142311"/>
              <a:ext cx="98212" cy="140064"/>
            </a:xfrm>
            <a:custGeom>
              <a:avLst/>
              <a:gdLst/>
              <a:ahLst/>
              <a:cxnLst/>
              <a:rect l="l" t="t" r="r" b="b"/>
              <a:pathLst>
                <a:path w="1584" h="2259" extrusionOk="0">
                  <a:moveTo>
                    <a:pt x="287" y="0"/>
                  </a:moveTo>
                  <a:cubicBezTo>
                    <a:pt x="130" y="0"/>
                    <a:pt x="3" y="76"/>
                    <a:pt x="1" y="167"/>
                  </a:cubicBezTo>
                  <a:lnTo>
                    <a:pt x="11" y="1532"/>
                  </a:lnTo>
                  <a:cubicBezTo>
                    <a:pt x="8" y="1577"/>
                    <a:pt x="41" y="1618"/>
                    <a:pt x="94" y="1651"/>
                  </a:cubicBezTo>
                  <a:lnTo>
                    <a:pt x="1066" y="2211"/>
                  </a:lnTo>
                  <a:cubicBezTo>
                    <a:pt x="1122" y="2243"/>
                    <a:pt x="1195" y="2259"/>
                    <a:pt x="1267" y="2259"/>
                  </a:cubicBezTo>
                  <a:cubicBezTo>
                    <a:pt x="1341" y="2259"/>
                    <a:pt x="1415" y="2242"/>
                    <a:pt x="1471" y="2209"/>
                  </a:cubicBezTo>
                  <a:cubicBezTo>
                    <a:pt x="1583" y="2145"/>
                    <a:pt x="1583" y="2041"/>
                    <a:pt x="1469" y="1976"/>
                  </a:cubicBezTo>
                  <a:lnTo>
                    <a:pt x="668" y="1511"/>
                  </a:lnTo>
                  <a:cubicBezTo>
                    <a:pt x="612" y="1481"/>
                    <a:pt x="581" y="1438"/>
                    <a:pt x="581" y="1395"/>
                  </a:cubicBezTo>
                  <a:lnTo>
                    <a:pt x="576" y="167"/>
                  </a:lnTo>
                  <a:cubicBezTo>
                    <a:pt x="574" y="122"/>
                    <a:pt x="543" y="81"/>
                    <a:pt x="490" y="51"/>
                  </a:cubicBezTo>
                  <a:cubicBezTo>
                    <a:pt x="439" y="20"/>
                    <a:pt x="366" y="3"/>
                    <a:pt x="287"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5" name="Google Shape;1425;p49"/>
            <p:cNvSpPr/>
            <p:nvPr/>
          </p:nvSpPr>
          <p:spPr>
            <a:xfrm>
              <a:off x="4708456" y="2493078"/>
              <a:ext cx="163129" cy="94554"/>
            </a:xfrm>
            <a:custGeom>
              <a:avLst/>
              <a:gdLst/>
              <a:ahLst/>
              <a:cxnLst/>
              <a:rect l="l" t="t" r="r" b="b"/>
              <a:pathLst>
                <a:path w="2631" h="1525" extrusionOk="0">
                  <a:moveTo>
                    <a:pt x="1994" y="954"/>
                  </a:moveTo>
                  <a:cubicBezTo>
                    <a:pt x="1982" y="960"/>
                    <a:pt x="1970" y="967"/>
                    <a:pt x="1958" y="974"/>
                  </a:cubicBezTo>
                  <a:lnTo>
                    <a:pt x="1994" y="954"/>
                  </a:lnTo>
                  <a:close/>
                  <a:moveTo>
                    <a:pt x="1314" y="0"/>
                  </a:moveTo>
                  <a:lnTo>
                    <a:pt x="1" y="763"/>
                  </a:lnTo>
                  <a:lnTo>
                    <a:pt x="330" y="954"/>
                  </a:lnTo>
                  <a:lnTo>
                    <a:pt x="1319" y="1524"/>
                  </a:lnTo>
                  <a:cubicBezTo>
                    <a:pt x="1373" y="1375"/>
                    <a:pt x="1499" y="1240"/>
                    <a:pt x="1687" y="1131"/>
                  </a:cubicBezTo>
                  <a:lnTo>
                    <a:pt x="1687" y="1131"/>
                  </a:lnTo>
                  <a:lnTo>
                    <a:pt x="1568" y="1200"/>
                  </a:lnTo>
                  <a:lnTo>
                    <a:pt x="810" y="763"/>
                  </a:lnTo>
                  <a:lnTo>
                    <a:pt x="1317" y="469"/>
                  </a:lnTo>
                  <a:lnTo>
                    <a:pt x="2075" y="908"/>
                  </a:lnTo>
                  <a:lnTo>
                    <a:pt x="1994" y="954"/>
                  </a:lnTo>
                  <a:lnTo>
                    <a:pt x="1994" y="954"/>
                  </a:lnTo>
                  <a:cubicBezTo>
                    <a:pt x="2178" y="854"/>
                    <a:pt x="2400" y="789"/>
                    <a:pt x="2631" y="761"/>
                  </a:cubicBezTo>
                  <a:lnTo>
                    <a:pt x="1641" y="190"/>
                  </a:lnTo>
                  <a:lnTo>
                    <a:pt x="1314" y="0"/>
                  </a:ln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6" name="Google Shape;1426;p49"/>
            <p:cNvSpPr/>
            <p:nvPr/>
          </p:nvSpPr>
          <p:spPr>
            <a:xfrm>
              <a:off x="4419028" y="2335032"/>
              <a:ext cx="358684" cy="189232"/>
            </a:xfrm>
            <a:custGeom>
              <a:avLst/>
              <a:gdLst/>
              <a:ahLst/>
              <a:cxnLst/>
              <a:rect l="l" t="t" r="r" b="b"/>
              <a:pathLst>
                <a:path w="5785" h="3052" extrusionOk="0">
                  <a:moveTo>
                    <a:pt x="2886" y="333"/>
                  </a:moveTo>
                  <a:cubicBezTo>
                    <a:pt x="3436" y="333"/>
                    <a:pt x="3954" y="457"/>
                    <a:pt x="4344" y="680"/>
                  </a:cubicBezTo>
                  <a:cubicBezTo>
                    <a:pt x="5151" y="1147"/>
                    <a:pt x="5156" y="1902"/>
                    <a:pt x="4354" y="2369"/>
                  </a:cubicBezTo>
                  <a:cubicBezTo>
                    <a:pt x="3966" y="2595"/>
                    <a:pt x="3449" y="2719"/>
                    <a:pt x="2899" y="2719"/>
                  </a:cubicBezTo>
                  <a:cubicBezTo>
                    <a:pt x="2351" y="2719"/>
                    <a:pt x="1831" y="2595"/>
                    <a:pt x="1440" y="2369"/>
                  </a:cubicBezTo>
                  <a:cubicBezTo>
                    <a:pt x="634" y="1902"/>
                    <a:pt x="629" y="1147"/>
                    <a:pt x="1430" y="680"/>
                  </a:cubicBezTo>
                  <a:cubicBezTo>
                    <a:pt x="1818" y="457"/>
                    <a:pt x="2336" y="333"/>
                    <a:pt x="2886" y="333"/>
                  </a:cubicBezTo>
                  <a:close/>
                  <a:moveTo>
                    <a:pt x="2883" y="0"/>
                  </a:moveTo>
                  <a:cubicBezTo>
                    <a:pt x="2181" y="0"/>
                    <a:pt x="1519" y="158"/>
                    <a:pt x="1025" y="447"/>
                  </a:cubicBezTo>
                  <a:cubicBezTo>
                    <a:pt x="0" y="1040"/>
                    <a:pt x="8" y="2009"/>
                    <a:pt x="1037" y="2602"/>
                  </a:cubicBezTo>
                  <a:cubicBezTo>
                    <a:pt x="1537" y="2891"/>
                    <a:pt x="2196" y="3051"/>
                    <a:pt x="2901" y="3051"/>
                  </a:cubicBezTo>
                  <a:cubicBezTo>
                    <a:pt x="3604" y="3051"/>
                    <a:pt x="4266" y="2891"/>
                    <a:pt x="4763" y="2605"/>
                  </a:cubicBezTo>
                  <a:cubicBezTo>
                    <a:pt x="5785" y="2009"/>
                    <a:pt x="5779" y="1040"/>
                    <a:pt x="4747" y="447"/>
                  </a:cubicBezTo>
                  <a:cubicBezTo>
                    <a:pt x="4250" y="158"/>
                    <a:pt x="3588" y="0"/>
                    <a:pt x="2883"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7" name="Google Shape;1427;p49"/>
            <p:cNvSpPr/>
            <p:nvPr/>
          </p:nvSpPr>
          <p:spPr>
            <a:xfrm>
              <a:off x="4788316" y="2539084"/>
              <a:ext cx="273183" cy="153270"/>
            </a:xfrm>
            <a:custGeom>
              <a:avLst/>
              <a:gdLst/>
              <a:ahLst/>
              <a:cxnLst/>
              <a:rect l="l" t="t" r="r" b="b"/>
              <a:pathLst>
                <a:path w="4406" h="2472" extrusionOk="0">
                  <a:moveTo>
                    <a:pt x="1637" y="333"/>
                  </a:moveTo>
                  <a:cubicBezTo>
                    <a:pt x="1840" y="333"/>
                    <a:pt x="2045" y="376"/>
                    <a:pt x="2200" y="468"/>
                  </a:cubicBezTo>
                  <a:lnTo>
                    <a:pt x="3465" y="1198"/>
                  </a:lnTo>
                  <a:cubicBezTo>
                    <a:pt x="3777" y="1378"/>
                    <a:pt x="3777" y="1670"/>
                    <a:pt x="3470" y="1847"/>
                  </a:cubicBezTo>
                  <a:lnTo>
                    <a:pt x="3199" y="2007"/>
                  </a:lnTo>
                  <a:cubicBezTo>
                    <a:pt x="3044" y="2096"/>
                    <a:pt x="2841" y="2140"/>
                    <a:pt x="2637" y="2140"/>
                  </a:cubicBezTo>
                  <a:cubicBezTo>
                    <a:pt x="2434" y="2140"/>
                    <a:pt x="2230" y="2096"/>
                    <a:pt x="2075" y="2007"/>
                  </a:cubicBezTo>
                  <a:lnTo>
                    <a:pt x="807" y="1274"/>
                  </a:lnTo>
                  <a:cubicBezTo>
                    <a:pt x="658" y="1188"/>
                    <a:pt x="574" y="1074"/>
                    <a:pt x="574" y="950"/>
                  </a:cubicBezTo>
                  <a:cubicBezTo>
                    <a:pt x="572" y="828"/>
                    <a:pt x="655" y="711"/>
                    <a:pt x="805" y="625"/>
                  </a:cubicBezTo>
                  <a:lnTo>
                    <a:pt x="1076" y="468"/>
                  </a:lnTo>
                  <a:cubicBezTo>
                    <a:pt x="1231" y="376"/>
                    <a:pt x="1434" y="333"/>
                    <a:pt x="1637" y="333"/>
                  </a:cubicBezTo>
                  <a:close/>
                  <a:moveTo>
                    <a:pt x="1636" y="0"/>
                  </a:moveTo>
                  <a:cubicBezTo>
                    <a:pt x="1538" y="0"/>
                    <a:pt x="1439" y="7"/>
                    <a:pt x="1343" y="19"/>
                  </a:cubicBezTo>
                  <a:cubicBezTo>
                    <a:pt x="1097" y="49"/>
                    <a:pt x="861" y="120"/>
                    <a:pt x="670" y="232"/>
                  </a:cubicBezTo>
                  <a:lnTo>
                    <a:pt x="399" y="389"/>
                  </a:lnTo>
                  <a:cubicBezTo>
                    <a:pt x="211" y="498"/>
                    <a:pt x="85" y="633"/>
                    <a:pt x="31" y="782"/>
                  </a:cubicBezTo>
                  <a:cubicBezTo>
                    <a:pt x="11" y="835"/>
                    <a:pt x="1" y="894"/>
                    <a:pt x="1" y="950"/>
                  </a:cubicBezTo>
                  <a:cubicBezTo>
                    <a:pt x="1" y="1163"/>
                    <a:pt x="146" y="1360"/>
                    <a:pt x="404" y="1510"/>
                  </a:cubicBezTo>
                  <a:lnTo>
                    <a:pt x="1670" y="2240"/>
                  </a:lnTo>
                  <a:cubicBezTo>
                    <a:pt x="1938" y="2395"/>
                    <a:pt x="2288" y="2471"/>
                    <a:pt x="2638" y="2471"/>
                  </a:cubicBezTo>
                  <a:cubicBezTo>
                    <a:pt x="2988" y="2471"/>
                    <a:pt x="3338" y="2395"/>
                    <a:pt x="3605" y="2240"/>
                  </a:cubicBezTo>
                  <a:lnTo>
                    <a:pt x="3876" y="2083"/>
                  </a:lnTo>
                  <a:cubicBezTo>
                    <a:pt x="4406" y="1774"/>
                    <a:pt x="4403" y="1272"/>
                    <a:pt x="3868" y="965"/>
                  </a:cubicBezTo>
                  <a:lnTo>
                    <a:pt x="2603" y="232"/>
                  </a:lnTo>
                  <a:cubicBezTo>
                    <a:pt x="2336" y="78"/>
                    <a:pt x="1986" y="0"/>
                    <a:pt x="1636"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8" name="Google Shape;1428;p49"/>
            <p:cNvSpPr/>
            <p:nvPr/>
          </p:nvSpPr>
          <p:spPr>
            <a:xfrm>
              <a:off x="4325900" y="2285802"/>
              <a:ext cx="542832" cy="287506"/>
            </a:xfrm>
            <a:custGeom>
              <a:avLst/>
              <a:gdLst/>
              <a:ahLst/>
              <a:cxnLst/>
              <a:rect l="l" t="t" r="r" b="b"/>
              <a:pathLst>
                <a:path w="8755" h="4637" extrusionOk="0">
                  <a:moveTo>
                    <a:pt x="4380" y="1"/>
                  </a:moveTo>
                  <a:cubicBezTo>
                    <a:pt x="3313" y="1"/>
                    <a:pt x="2308" y="242"/>
                    <a:pt x="1555" y="680"/>
                  </a:cubicBezTo>
                  <a:cubicBezTo>
                    <a:pt x="1" y="1583"/>
                    <a:pt x="8" y="3054"/>
                    <a:pt x="1573" y="3959"/>
                  </a:cubicBezTo>
                  <a:cubicBezTo>
                    <a:pt x="2331" y="4395"/>
                    <a:pt x="3338" y="4636"/>
                    <a:pt x="4408" y="4636"/>
                  </a:cubicBezTo>
                  <a:cubicBezTo>
                    <a:pt x="5159" y="4636"/>
                    <a:pt x="5879" y="4517"/>
                    <a:pt x="6500" y="4297"/>
                  </a:cubicBezTo>
                  <a:lnTo>
                    <a:pt x="6171" y="4106"/>
                  </a:lnTo>
                  <a:lnTo>
                    <a:pt x="6828" y="3723"/>
                  </a:lnTo>
                  <a:lnTo>
                    <a:pt x="6828" y="3723"/>
                  </a:lnTo>
                  <a:cubicBezTo>
                    <a:pt x="6183" y="4099"/>
                    <a:pt x="5321" y="4304"/>
                    <a:pt x="4406" y="4304"/>
                  </a:cubicBezTo>
                  <a:cubicBezTo>
                    <a:pt x="3490" y="4304"/>
                    <a:pt x="2625" y="4099"/>
                    <a:pt x="1976" y="3723"/>
                  </a:cubicBezTo>
                  <a:cubicBezTo>
                    <a:pt x="635" y="2950"/>
                    <a:pt x="630" y="1690"/>
                    <a:pt x="1961" y="914"/>
                  </a:cubicBezTo>
                  <a:cubicBezTo>
                    <a:pt x="2608" y="538"/>
                    <a:pt x="3467" y="333"/>
                    <a:pt x="4383" y="333"/>
                  </a:cubicBezTo>
                  <a:cubicBezTo>
                    <a:pt x="5298" y="333"/>
                    <a:pt x="6161" y="538"/>
                    <a:pt x="6810" y="914"/>
                  </a:cubicBezTo>
                  <a:cubicBezTo>
                    <a:pt x="8154" y="1690"/>
                    <a:pt x="8161" y="2950"/>
                    <a:pt x="6828" y="3723"/>
                  </a:cubicBezTo>
                  <a:lnTo>
                    <a:pt x="7484" y="3343"/>
                  </a:lnTo>
                  <a:lnTo>
                    <a:pt x="7811" y="3533"/>
                  </a:lnTo>
                  <a:cubicBezTo>
                    <a:pt x="8755" y="2641"/>
                    <a:pt x="8552" y="1454"/>
                    <a:pt x="7213" y="680"/>
                  </a:cubicBezTo>
                  <a:cubicBezTo>
                    <a:pt x="6455" y="242"/>
                    <a:pt x="5451" y="1"/>
                    <a:pt x="4380"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9" name="Google Shape;1429;p49"/>
            <p:cNvSpPr/>
            <p:nvPr/>
          </p:nvSpPr>
          <p:spPr>
            <a:xfrm>
              <a:off x="5523110" y="3188504"/>
              <a:ext cx="616925" cy="212979"/>
            </a:xfrm>
            <a:custGeom>
              <a:avLst/>
              <a:gdLst/>
              <a:ahLst/>
              <a:cxnLst/>
              <a:rect l="l" t="t" r="r" b="b"/>
              <a:pathLst>
                <a:path w="9950" h="3435" extrusionOk="0">
                  <a:moveTo>
                    <a:pt x="8154" y="333"/>
                  </a:moveTo>
                  <a:cubicBezTo>
                    <a:pt x="8486" y="333"/>
                    <a:pt x="8788" y="411"/>
                    <a:pt x="9006" y="538"/>
                  </a:cubicBezTo>
                  <a:cubicBezTo>
                    <a:pt x="9226" y="665"/>
                    <a:pt x="9363" y="840"/>
                    <a:pt x="9363" y="1033"/>
                  </a:cubicBezTo>
                  <a:lnTo>
                    <a:pt x="9373" y="3102"/>
                  </a:lnTo>
                  <a:lnTo>
                    <a:pt x="589" y="3102"/>
                  </a:lnTo>
                  <a:lnTo>
                    <a:pt x="576" y="1033"/>
                  </a:lnTo>
                  <a:cubicBezTo>
                    <a:pt x="576" y="647"/>
                    <a:pt x="1114" y="333"/>
                    <a:pt x="1781" y="333"/>
                  </a:cubicBezTo>
                  <a:lnTo>
                    <a:pt x="2476" y="335"/>
                  </a:lnTo>
                  <a:cubicBezTo>
                    <a:pt x="3138" y="718"/>
                    <a:pt x="4038" y="936"/>
                    <a:pt x="4969" y="936"/>
                  </a:cubicBezTo>
                  <a:cubicBezTo>
                    <a:pt x="5902" y="936"/>
                    <a:pt x="6799" y="718"/>
                    <a:pt x="7456" y="333"/>
                  </a:cubicBezTo>
                  <a:close/>
                  <a:moveTo>
                    <a:pt x="8151" y="1"/>
                  </a:moveTo>
                  <a:lnTo>
                    <a:pt x="7208" y="3"/>
                  </a:lnTo>
                  <a:lnTo>
                    <a:pt x="7122" y="56"/>
                  </a:lnTo>
                  <a:cubicBezTo>
                    <a:pt x="6559" y="409"/>
                    <a:pt x="5793" y="604"/>
                    <a:pt x="4969" y="604"/>
                  </a:cubicBezTo>
                  <a:cubicBezTo>
                    <a:pt x="4182" y="604"/>
                    <a:pt x="3449" y="427"/>
                    <a:pt x="2892" y="105"/>
                  </a:cubicBezTo>
                  <a:cubicBezTo>
                    <a:pt x="2861" y="89"/>
                    <a:pt x="2833" y="72"/>
                    <a:pt x="2805" y="56"/>
                  </a:cubicBezTo>
                  <a:lnTo>
                    <a:pt x="2722" y="3"/>
                  </a:lnTo>
                  <a:lnTo>
                    <a:pt x="1776" y="3"/>
                  </a:lnTo>
                  <a:cubicBezTo>
                    <a:pt x="797" y="3"/>
                    <a:pt x="1" y="465"/>
                    <a:pt x="6" y="1033"/>
                  </a:cubicBezTo>
                  <a:lnTo>
                    <a:pt x="18" y="3434"/>
                  </a:lnTo>
                  <a:lnTo>
                    <a:pt x="9949" y="3434"/>
                  </a:lnTo>
                  <a:lnTo>
                    <a:pt x="9936" y="1033"/>
                  </a:lnTo>
                  <a:cubicBezTo>
                    <a:pt x="9934" y="749"/>
                    <a:pt x="9734" y="490"/>
                    <a:pt x="9409" y="305"/>
                  </a:cubicBezTo>
                  <a:cubicBezTo>
                    <a:pt x="9087" y="117"/>
                    <a:pt x="8641" y="3"/>
                    <a:pt x="8151"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0" name="Google Shape;1430;p49"/>
            <p:cNvSpPr/>
            <p:nvPr/>
          </p:nvSpPr>
          <p:spPr>
            <a:xfrm>
              <a:off x="5669685" y="3023266"/>
              <a:ext cx="321607" cy="185883"/>
            </a:xfrm>
            <a:custGeom>
              <a:avLst/>
              <a:gdLst/>
              <a:ahLst/>
              <a:cxnLst/>
              <a:rect l="l" t="t" r="r" b="b"/>
              <a:pathLst>
                <a:path w="5187" h="2998" extrusionOk="0">
                  <a:moveTo>
                    <a:pt x="2587" y="332"/>
                  </a:moveTo>
                  <a:cubicBezTo>
                    <a:pt x="3142" y="332"/>
                    <a:pt x="3647" y="462"/>
                    <a:pt x="4015" y="675"/>
                  </a:cubicBezTo>
                  <a:cubicBezTo>
                    <a:pt x="4380" y="885"/>
                    <a:pt x="4608" y="1177"/>
                    <a:pt x="4608" y="1499"/>
                  </a:cubicBezTo>
                  <a:cubicBezTo>
                    <a:pt x="4613" y="2143"/>
                    <a:pt x="3710" y="2666"/>
                    <a:pt x="2599" y="2666"/>
                  </a:cubicBezTo>
                  <a:cubicBezTo>
                    <a:pt x="2594" y="2666"/>
                    <a:pt x="2589" y="2666"/>
                    <a:pt x="2584" y="2666"/>
                  </a:cubicBezTo>
                  <a:cubicBezTo>
                    <a:pt x="2035" y="2666"/>
                    <a:pt x="1536" y="2534"/>
                    <a:pt x="1174" y="2326"/>
                  </a:cubicBezTo>
                  <a:cubicBezTo>
                    <a:pt x="807" y="2113"/>
                    <a:pt x="581" y="1821"/>
                    <a:pt x="578" y="1499"/>
                  </a:cubicBezTo>
                  <a:cubicBezTo>
                    <a:pt x="573" y="855"/>
                    <a:pt x="1476" y="332"/>
                    <a:pt x="2587" y="332"/>
                  </a:cubicBezTo>
                  <a:close/>
                  <a:moveTo>
                    <a:pt x="2584" y="0"/>
                  </a:moveTo>
                  <a:cubicBezTo>
                    <a:pt x="1156" y="0"/>
                    <a:pt x="0" y="672"/>
                    <a:pt x="5" y="1499"/>
                  </a:cubicBezTo>
                  <a:cubicBezTo>
                    <a:pt x="8" y="1912"/>
                    <a:pt x="299" y="2288"/>
                    <a:pt x="771" y="2559"/>
                  </a:cubicBezTo>
                  <a:cubicBezTo>
                    <a:pt x="1240" y="2830"/>
                    <a:pt x="1889" y="2998"/>
                    <a:pt x="2602" y="2998"/>
                  </a:cubicBezTo>
                  <a:cubicBezTo>
                    <a:pt x="4030" y="2998"/>
                    <a:pt x="5186" y="2326"/>
                    <a:pt x="5184" y="1499"/>
                  </a:cubicBezTo>
                  <a:cubicBezTo>
                    <a:pt x="5181" y="1086"/>
                    <a:pt x="4887" y="713"/>
                    <a:pt x="4418" y="439"/>
                  </a:cubicBezTo>
                  <a:cubicBezTo>
                    <a:pt x="3946" y="168"/>
                    <a:pt x="3299" y="0"/>
                    <a:pt x="2584"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1" name="Google Shape;1431;p49"/>
            <p:cNvSpPr/>
            <p:nvPr/>
          </p:nvSpPr>
          <p:spPr>
            <a:xfrm>
              <a:off x="6896719" y="2596189"/>
              <a:ext cx="220543" cy="89842"/>
            </a:xfrm>
            <a:custGeom>
              <a:avLst/>
              <a:gdLst/>
              <a:ahLst/>
              <a:cxnLst/>
              <a:rect l="l" t="t" r="r" b="b"/>
              <a:pathLst>
                <a:path w="3557" h="1449" extrusionOk="0">
                  <a:moveTo>
                    <a:pt x="871" y="1"/>
                  </a:moveTo>
                  <a:cubicBezTo>
                    <a:pt x="389" y="6"/>
                    <a:pt x="1" y="234"/>
                    <a:pt x="1" y="513"/>
                  </a:cubicBezTo>
                  <a:lnTo>
                    <a:pt x="6" y="1246"/>
                  </a:lnTo>
                  <a:cubicBezTo>
                    <a:pt x="6" y="1302"/>
                    <a:pt x="44" y="1352"/>
                    <a:pt x="107" y="1390"/>
                  </a:cubicBezTo>
                  <a:cubicBezTo>
                    <a:pt x="171" y="1426"/>
                    <a:pt x="259" y="1449"/>
                    <a:pt x="353" y="1449"/>
                  </a:cubicBezTo>
                  <a:lnTo>
                    <a:pt x="3211" y="1449"/>
                  </a:lnTo>
                  <a:cubicBezTo>
                    <a:pt x="3401" y="1449"/>
                    <a:pt x="3556" y="1357"/>
                    <a:pt x="3556" y="1246"/>
                  </a:cubicBezTo>
                  <a:lnTo>
                    <a:pt x="3551" y="513"/>
                  </a:lnTo>
                  <a:cubicBezTo>
                    <a:pt x="3551" y="371"/>
                    <a:pt x="3452" y="244"/>
                    <a:pt x="3292" y="150"/>
                  </a:cubicBezTo>
                  <a:cubicBezTo>
                    <a:pt x="3135" y="61"/>
                    <a:pt x="2917" y="3"/>
                    <a:pt x="2679" y="1"/>
                  </a:cubicBezTo>
                  <a:lnTo>
                    <a:pt x="2669" y="333"/>
                  </a:lnTo>
                  <a:cubicBezTo>
                    <a:pt x="2755" y="333"/>
                    <a:pt x="2831" y="353"/>
                    <a:pt x="2889" y="386"/>
                  </a:cubicBezTo>
                  <a:cubicBezTo>
                    <a:pt x="2945" y="419"/>
                    <a:pt x="2981" y="465"/>
                    <a:pt x="2981" y="513"/>
                  </a:cubicBezTo>
                  <a:lnTo>
                    <a:pt x="2983" y="1116"/>
                  </a:lnTo>
                  <a:lnTo>
                    <a:pt x="579" y="1116"/>
                  </a:lnTo>
                  <a:lnTo>
                    <a:pt x="574" y="513"/>
                  </a:lnTo>
                  <a:cubicBezTo>
                    <a:pt x="574" y="414"/>
                    <a:pt x="713" y="333"/>
                    <a:pt x="886" y="333"/>
                  </a:cubicBezTo>
                  <a:lnTo>
                    <a:pt x="873" y="333"/>
                  </a:lnTo>
                  <a:lnTo>
                    <a:pt x="871" y="1"/>
                  </a:ln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2" name="Google Shape;1432;p49"/>
            <p:cNvSpPr/>
            <p:nvPr/>
          </p:nvSpPr>
          <p:spPr>
            <a:xfrm>
              <a:off x="6993877" y="2522777"/>
              <a:ext cx="10602" cy="372"/>
            </a:xfrm>
            <a:custGeom>
              <a:avLst/>
              <a:gdLst/>
              <a:ahLst/>
              <a:cxnLst/>
              <a:rect l="l" t="t" r="r" b="b"/>
              <a:pathLst>
                <a:path w="171" h="6" extrusionOk="0">
                  <a:moveTo>
                    <a:pt x="171" y="5"/>
                  </a:moveTo>
                  <a:cubicBezTo>
                    <a:pt x="113" y="5"/>
                    <a:pt x="57" y="3"/>
                    <a:pt x="1" y="0"/>
                  </a:cubicBezTo>
                  <a:cubicBezTo>
                    <a:pt x="57" y="3"/>
                    <a:pt x="113" y="5"/>
                    <a:pt x="171" y="5"/>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3" name="Google Shape;1433;p49"/>
            <p:cNvSpPr/>
            <p:nvPr/>
          </p:nvSpPr>
          <p:spPr>
            <a:xfrm>
              <a:off x="7004418" y="2523087"/>
              <a:ext cx="3534" cy="62"/>
            </a:xfrm>
            <a:custGeom>
              <a:avLst/>
              <a:gdLst/>
              <a:ahLst/>
              <a:cxnLst/>
              <a:rect l="l" t="t" r="r" b="b"/>
              <a:pathLst>
                <a:path w="57" h="1" extrusionOk="0">
                  <a:moveTo>
                    <a:pt x="31" y="0"/>
                  </a:moveTo>
                  <a:cubicBezTo>
                    <a:pt x="21" y="0"/>
                    <a:pt x="11" y="0"/>
                    <a:pt x="1" y="0"/>
                  </a:cubicBezTo>
                  <a:cubicBezTo>
                    <a:pt x="19" y="0"/>
                    <a:pt x="36" y="0"/>
                    <a:pt x="57" y="0"/>
                  </a:cubicBezTo>
                  <a:cubicBezTo>
                    <a:pt x="47" y="0"/>
                    <a:pt x="39" y="0"/>
                    <a:pt x="31"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4" name="Google Shape;1434;p49"/>
            <p:cNvSpPr/>
            <p:nvPr/>
          </p:nvSpPr>
          <p:spPr>
            <a:xfrm>
              <a:off x="7007890" y="2522591"/>
              <a:ext cx="14881" cy="558"/>
            </a:xfrm>
            <a:custGeom>
              <a:avLst/>
              <a:gdLst/>
              <a:ahLst/>
              <a:cxnLst/>
              <a:rect l="l" t="t" r="r" b="b"/>
              <a:pathLst>
                <a:path w="240" h="9" extrusionOk="0">
                  <a:moveTo>
                    <a:pt x="239" y="1"/>
                  </a:moveTo>
                  <a:cubicBezTo>
                    <a:pt x="160" y="6"/>
                    <a:pt x="79" y="8"/>
                    <a:pt x="1" y="8"/>
                  </a:cubicBezTo>
                  <a:cubicBezTo>
                    <a:pt x="79" y="8"/>
                    <a:pt x="160" y="6"/>
                    <a:pt x="239"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5" name="Google Shape;1435;p49"/>
            <p:cNvSpPr/>
            <p:nvPr/>
          </p:nvSpPr>
          <p:spPr>
            <a:xfrm>
              <a:off x="6804149" y="2293490"/>
              <a:ext cx="402706" cy="245716"/>
            </a:xfrm>
            <a:custGeom>
              <a:avLst/>
              <a:gdLst/>
              <a:ahLst/>
              <a:cxnLst/>
              <a:rect l="l" t="t" r="r" b="b"/>
              <a:pathLst>
                <a:path w="6495" h="3963" extrusionOk="0">
                  <a:moveTo>
                    <a:pt x="3845" y="3667"/>
                  </a:moveTo>
                  <a:lnTo>
                    <a:pt x="3817" y="3670"/>
                  </a:lnTo>
                  <a:cubicBezTo>
                    <a:pt x="3826" y="3669"/>
                    <a:pt x="3835" y="3668"/>
                    <a:pt x="3845" y="3667"/>
                  </a:cubicBezTo>
                  <a:close/>
                  <a:moveTo>
                    <a:pt x="2654" y="3665"/>
                  </a:moveTo>
                  <a:cubicBezTo>
                    <a:pt x="2676" y="3668"/>
                    <a:pt x="2699" y="3670"/>
                    <a:pt x="2721" y="3673"/>
                  </a:cubicBezTo>
                  <a:lnTo>
                    <a:pt x="2654" y="3665"/>
                  </a:lnTo>
                  <a:close/>
                  <a:moveTo>
                    <a:pt x="347" y="1"/>
                  </a:moveTo>
                  <a:cubicBezTo>
                    <a:pt x="155" y="1"/>
                    <a:pt x="0" y="92"/>
                    <a:pt x="0" y="204"/>
                  </a:cubicBezTo>
                  <a:lnTo>
                    <a:pt x="3" y="549"/>
                  </a:lnTo>
                  <a:lnTo>
                    <a:pt x="287" y="549"/>
                  </a:lnTo>
                  <a:lnTo>
                    <a:pt x="287" y="881"/>
                  </a:lnTo>
                  <a:lnTo>
                    <a:pt x="5" y="881"/>
                  </a:lnTo>
                  <a:lnTo>
                    <a:pt x="10" y="2108"/>
                  </a:lnTo>
                  <a:cubicBezTo>
                    <a:pt x="10" y="2248"/>
                    <a:pt x="38" y="2382"/>
                    <a:pt x="86" y="2512"/>
                  </a:cubicBezTo>
                  <a:lnTo>
                    <a:pt x="431" y="2512"/>
                  </a:lnTo>
                  <a:lnTo>
                    <a:pt x="434" y="2844"/>
                  </a:lnTo>
                  <a:lnTo>
                    <a:pt x="266" y="2844"/>
                  </a:lnTo>
                  <a:cubicBezTo>
                    <a:pt x="439" y="3085"/>
                    <a:pt x="692" y="3305"/>
                    <a:pt x="1009" y="3485"/>
                  </a:cubicBezTo>
                  <a:cubicBezTo>
                    <a:pt x="1385" y="3703"/>
                    <a:pt x="1846" y="3868"/>
                    <a:pt x="2359" y="3957"/>
                  </a:cubicBezTo>
                  <a:lnTo>
                    <a:pt x="2356" y="3627"/>
                  </a:lnTo>
                  <a:lnTo>
                    <a:pt x="2654" y="3665"/>
                  </a:lnTo>
                  <a:lnTo>
                    <a:pt x="2654" y="3665"/>
                  </a:lnTo>
                  <a:cubicBezTo>
                    <a:pt x="2161" y="3599"/>
                    <a:pt x="1719" y="3453"/>
                    <a:pt x="1372" y="3252"/>
                  </a:cubicBezTo>
                  <a:cubicBezTo>
                    <a:pt x="888" y="2973"/>
                    <a:pt x="586" y="2585"/>
                    <a:pt x="583" y="2159"/>
                  </a:cubicBezTo>
                  <a:lnTo>
                    <a:pt x="573" y="333"/>
                  </a:lnTo>
                  <a:lnTo>
                    <a:pt x="5909" y="333"/>
                  </a:lnTo>
                  <a:lnTo>
                    <a:pt x="5919" y="2159"/>
                  </a:lnTo>
                  <a:cubicBezTo>
                    <a:pt x="5924" y="2899"/>
                    <a:pt x="5028" y="3516"/>
                    <a:pt x="3845" y="3667"/>
                  </a:cubicBezTo>
                  <a:lnTo>
                    <a:pt x="3845" y="3667"/>
                  </a:lnTo>
                  <a:lnTo>
                    <a:pt x="4164" y="3627"/>
                  </a:lnTo>
                  <a:lnTo>
                    <a:pt x="4167" y="3962"/>
                  </a:lnTo>
                  <a:cubicBezTo>
                    <a:pt x="5133" y="3800"/>
                    <a:pt x="5911" y="3381"/>
                    <a:pt x="6274" y="2844"/>
                  </a:cubicBezTo>
                  <a:lnTo>
                    <a:pt x="6079" y="2844"/>
                  </a:lnTo>
                  <a:lnTo>
                    <a:pt x="6079" y="2512"/>
                  </a:lnTo>
                  <a:lnTo>
                    <a:pt x="6439" y="2512"/>
                  </a:lnTo>
                  <a:cubicBezTo>
                    <a:pt x="6474" y="2397"/>
                    <a:pt x="6495" y="2281"/>
                    <a:pt x="6495" y="2159"/>
                  </a:cubicBezTo>
                  <a:lnTo>
                    <a:pt x="6487" y="881"/>
                  </a:lnTo>
                  <a:lnTo>
                    <a:pt x="6201" y="881"/>
                  </a:lnTo>
                  <a:lnTo>
                    <a:pt x="6201" y="549"/>
                  </a:lnTo>
                  <a:lnTo>
                    <a:pt x="6485" y="549"/>
                  </a:lnTo>
                  <a:lnTo>
                    <a:pt x="6482" y="204"/>
                  </a:lnTo>
                  <a:cubicBezTo>
                    <a:pt x="6482" y="148"/>
                    <a:pt x="6441" y="97"/>
                    <a:pt x="6378" y="62"/>
                  </a:cubicBezTo>
                  <a:cubicBezTo>
                    <a:pt x="6317" y="24"/>
                    <a:pt x="6228" y="1"/>
                    <a:pt x="6135"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6" name="Google Shape;1436;p49"/>
            <p:cNvSpPr/>
            <p:nvPr/>
          </p:nvSpPr>
          <p:spPr>
            <a:xfrm>
              <a:off x="7181002" y="2327468"/>
              <a:ext cx="137212" cy="142358"/>
            </a:xfrm>
            <a:custGeom>
              <a:avLst/>
              <a:gdLst/>
              <a:ahLst/>
              <a:cxnLst/>
              <a:rect l="l" t="t" r="r" b="b"/>
              <a:pathLst>
                <a:path w="2213" h="2296" extrusionOk="0">
                  <a:moveTo>
                    <a:pt x="123" y="1"/>
                  </a:moveTo>
                  <a:lnTo>
                    <a:pt x="123" y="333"/>
                  </a:lnTo>
                  <a:lnTo>
                    <a:pt x="1147" y="333"/>
                  </a:lnTo>
                  <a:cubicBezTo>
                    <a:pt x="1279" y="333"/>
                    <a:pt x="1401" y="363"/>
                    <a:pt x="1487" y="414"/>
                  </a:cubicBezTo>
                  <a:cubicBezTo>
                    <a:pt x="1576" y="465"/>
                    <a:pt x="1629" y="536"/>
                    <a:pt x="1631" y="612"/>
                  </a:cubicBezTo>
                  <a:lnTo>
                    <a:pt x="1636" y="1685"/>
                  </a:lnTo>
                  <a:cubicBezTo>
                    <a:pt x="1636" y="1839"/>
                    <a:pt x="1421" y="1964"/>
                    <a:pt x="1155" y="1964"/>
                  </a:cubicBezTo>
                  <a:lnTo>
                    <a:pt x="1" y="1964"/>
                  </a:lnTo>
                  <a:lnTo>
                    <a:pt x="1" y="2296"/>
                  </a:lnTo>
                  <a:lnTo>
                    <a:pt x="1157" y="2296"/>
                  </a:lnTo>
                  <a:cubicBezTo>
                    <a:pt x="1740" y="2296"/>
                    <a:pt x="2212" y="2022"/>
                    <a:pt x="2210" y="1685"/>
                  </a:cubicBezTo>
                  <a:lnTo>
                    <a:pt x="2202" y="612"/>
                  </a:lnTo>
                  <a:cubicBezTo>
                    <a:pt x="2202" y="444"/>
                    <a:pt x="2083" y="292"/>
                    <a:pt x="1893" y="181"/>
                  </a:cubicBezTo>
                  <a:cubicBezTo>
                    <a:pt x="1700" y="69"/>
                    <a:pt x="1434" y="1"/>
                    <a:pt x="1142"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7" name="Google Shape;1437;p49"/>
            <p:cNvSpPr/>
            <p:nvPr/>
          </p:nvSpPr>
          <p:spPr>
            <a:xfrm>
              <a:off x="6693102" y="2327468"/>
              <a:ext cx="137956" cy="142358"/>
            </a:xfrm>
            <a:custGeom>
              <a:avLst/>
              <a:gdLst/>
              <a:ahLst/>
              <a:cxnLst/>
              <a:rect l="l" t="t" r="r" b="b"/>
              <a:pathLst>
                <a:path w="2225" h="2296" extrusionOk="0">
                  <a:moveTo>
                    <a:pt x="1056" y="1"/>
                  </a:moveTo>
                  <a:cubicBezTo>
                    <a:pt x="472" y="1"/>
                    <a:pt x="1" y="275"/>
                    <a:pt x="3" y="612"/>
                  </a:cubicBezTo>
                  <a:lnTo>
                    <a:pt x="8" y="1685"/>
                  </a:lnTo>
                  <a:cubicBezTo>
                    <a:pt x="8" y="1852"/>
                    <a:pt x="127" y="2004"/>
                    <a:pt x="320" y="2116"/>
                  </a:cubicBezTo>
                  <a:cubicBezTo>
                    <a:pt x="513" y="2227"/>
                    <a:pt x="777" y="2296"/>
                    <a:pt x="1068" y="2296"/>
                  </a:cubicBezTo>
                  <a:lnTo>
                    <a:pt x="2225" y="2296"/>
                  </a:lnTo>
                  <a:lnTo>
                    <a:pt x="2222" y="1964"/>
                  </a:lnTo>
                  <a:lnTo>
                    <a:pt x="1066" y="1964"/>
                  </a:lnTo>
                  <a:cubicBezTo>
                    <a:pt x="934" y="1964"/>
                    <a:pt x="812" y="1931"/>
                    <a:pt x="723" y="1880"/>
                  </a:cubicBezTo>
                  <a:cubicBezTo>
                    <a:pt x="637" y="1829"/>
                    <a:pt x="581" y="1761"/>
                    <a:pt x="581" y="1685"/>
                  </a:cubicBezTo>
                  <a:lnTo>
                    <a:pt x="576" y="612"/>
                  </a:lnTo>
                  <a:cubicBezTo>
                    <a:pt x="574" y="457"/>
                    <a:pt x="792" y="333"/>
                    <a:pt x="1058" y="333"/>
                  </a:cubicBezTo>
                  <a:lnTo>
                    <a:pt x="2078" y="333"/>
                  </a:lnTo>
                  <a:lnTo>
                    <a:pt x="2078" y="1"/>
                  </a:ln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8" name="Google Shape;1438;p49"/>
            <p:cNvSpPr/>
            <p:nvPr/>
          </p:nvSpPr>
          <p:spPr>
            <a:xfrm>
              <a:off x="6986189" y="2596189"/>
              <a:ext cx="20523" cy="62"/>
            </a:xfrm>
            <a:custGeom>
              <a:avLst/>
              <a:gdLst/>
              <a:ahLst/>
              <a:cxnLst/>
              <a:rect l="l" t="t" r="r" b="b"/>
              <a:pathLst>
                <a:path w="331" h="1" extrusionOk="0">
                  <a:moveTo>
                    <a:pt x="330" y="1"/>
                  </a:moveTo>
                  <a:lnTo>
                    <a:pt x="1" y="1"/>
                  </a:lnTo>
                  <a:lnTo>
                    <a:pt x="1" y="1"/>
                  </a:ln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9" name="Google Shape;1439;p49"/>
            <p:cNvSpPr/>
            <p:nvPr/>
          </p:nvSpPr>
          <p:spPr>
            <a:xfrm>
              <a:off x="6950165" y="2518375"/>
              <a:ext cx="112659" cy="98460"/>
            </a:xfrm>
            <a:custGeom>
              <a:avLst/>
              <a:gdLst/>
              <a:ahLst/>
              <a:cxnLst/>
              <a:rect l="l" t="t" r="r" b="b"/>
              <a:pathLst>
                <a:path w="1817" h="1588" extrusionOk="0">
                  <a:moveTo>
                    <a:pt x="577" y="398"/>
                  </a:moveTo>
                  <a:lnTo>
                    <a:pt x="577" y="398"/>
                  </a:lnTo>
                  <a:cubicBezTo>
                    <a:pt x="692" y="406"/>
                    <a:pt x="807" y="410"/>
                    <a:pt x="923" y="410"/>
                  </a:cubicBezTo>
                  <a:cubicBezTo>
                    <a:pt x="1028" y="410"/>
                    <a:pt x="1133" y="407"/>
                    <a:pt x="1239" y="401"/>
                  </a:cubicBezTo>
                  <a:lnTo>
                    <a:pt x="1244" y="1256"/>
                  </a:lnTo>
                  <a:lnTo>
                    <a:pt x="582" y="1256"/>
                  </a:lnTo>
                  <a:lnTo>
                    <a:pt x="577" y="398"/>
                  </a:lnTo>
                  <a:close/>
                  <a:moveTo>
                    <a:pt x="1809" y="0"/>
                  </a:moveTo>
                  <a:lnTo>
                    <a:pt x="1462" y="43"/>
                  </a:lnTo>
                  <a:cubicBezTo>
                    <a:pt x="1459" y="43"/>
                    <a:pt x="1454" y="46"/>
                    <a:pt x="1449" y="46"/>
                  </a:cubicBezTo>
                  <a:cubicBezTo>
                    <a:pt x="1439" y="46"/>
                    <a:pt x="1429" y="49"/>
                    <a:pt x="1421" y="49"/>
                  </a:cubicBezTo>
                  <a:cubicBezTo>
                    <a:pt x="1408" y="51"/>
                    <a:pt x="1398" y="51"/>
                    <a:pt x="1388" y="54"/>
                  </a:cubicBezTo>
                  <a:cubicBezTo>
                    <a:pt x="1370" y="54"/>
                    <a:pt x="1355" y="56"/>
                    <a:pt x="1340" y="56"/>
                  </a:cubicBezTo>
                  <a:cubicBezTo>
                    <a:pt x="1332" y="59"/>
                    <a:pt x="1327" y="59"/>
                    <a:pt x="1320" y="59"/>
                  </a:cubicBezTo>
                  <a:cubicBezTo>
                    <a:pt x="1304" y="61"/>
                    <a:pt x="1287" y="61"/>
                    <a:pt x="1269" y="64"/>
                  </a:cubicBezTo>
                  <a:lnTo>
                    <a:pt x="1251" y="64"/>
                  </a:lnTo>
                  <a:cubicBezTo>
                    <a:pt x="1239" y="66"/>
                    <a:pt x="1226" y="66"/>
                    <a:pt x="1213" y="66"/>
                  </a:cubicBezTo>
                  <a:cubicBezTo>
                    <a:pt x="1203" y="69"/>
                    <a:pt x="1190" y="69"/>
                    <a:pt x="1180" y="69"/>
                  </a:cubicBezTo>
                  <a:lnTo>
                    <a:pt x="1170" y="69"/>
                  </a:lnTo>
                  <a:cubicBezTo>
                    <a:pt x="1079" y="75"/>
                    <a:pt x="987" y="77"/>
                    <a:pt x="895" y="77"/>
                  </a:cubicBezTo>
                  <a:cubicBezTo>
                    <a:pt x="742" y="77"/>
                    <a:pt x="588" y="69"/>
                    <a:pt x="435" y="54"/>
                  </a:cubicBezTo>
                  <a:cubicBezTo>
                    <a:pt x="414" y="51"/>
                    <a:pt x="397" y="49"/>
                    <a:pt x="379" y="49"/>
                  </a:cubicBezTo>
                  <a:cubicBezTo>
                    <a:pt x="374" y="46"/>
                    <a:pt x="369" y="46"/>
                    <a:pt x="366" y="46"/>
                  </a:cubicBezTo>
                  <a:cubicBezTo>
                    <a:pt x="359" y="46"/>
                    <a:pt x="353" y="43"/>
                    <a:pt x="348" y="43"/>
                  </a:cubicBezTo>
                  <a:lnTo>
                    <a:pt x="1" y="0"/>
                  </a:lnTo>
                  <a:lnTo>
                    <a:pt x="1" y="0"/>
                  </a:lnTo>
                  <a:lnTo>
                    <a:pt x="4" y="330"/>
                  </a:lnTo>
                  <a:lnTo>
                    <a:pt x="9" y="1256"/>
                  </a:lnTo>
                  <a:lnTo>
                    <a:pt x="11" y="1588"/>
                  </a:lnTo>
                  <a:lnTo>
                    <a:pt x="1817" y="1588"/>
                  </a:lnTo>
                  <a:lnTo>
                    <a:pt x="1817" y="1256"/>
                  </a:lnTo>
                  <a:lnTo>
                    <a:pt x="1812" y="335"/>
                  </a:lnTo>
                  <a:lnTo>
                    <a:pt x="1809" y="0"/>
                  </a:ln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440" name="Google Shape;1440;p49"/>
          <p:cNvSpPr txBox="1">
            <a:spLocks noGrp="1"/>
          </p:cNvSpPr>
          <p:nvPr>
            <p:ph type="title"/>
          </p:nvPr>
        </p:nvSpPr>
        <p:spPr>
          <a:xfrm>
            <a:off x="1366980" y="485900"/>
            <a:ext cx="4572000" cy="641600"/>
          </a:xfrm>
          <a:prstGeom prst="rect">
            <a:avLst/>
          </a:prstGeom>
        </p:spPr>
        <p:txBody>
          <a:bodyPr spcFirstLastPara="1" wrap="square" lIns="121900" tIns="121900" rIns="121900" bIns="121900" anchor="ctr" anchorCtr="0">
            <a:noAutofit/>
          </a:bodyPr>
          <a:lstStyle/>
          <a:p>
            <a:r>
              <a:rPr lang="es" sz="3200" b="1" dirty="0">
                <a:latin typeface="+mn-lt"/>
              </a:rPr>
              <a:t>Agile Development</a:t>
            </a:r>
            <a:endParaRPr sz="3200" b="1" dirty="0">
              <a:latin typeface="+mn-lt"/>
            </a:endParaRPr>
          </a:p>
        </p:txBody>
      </p:sp>
      <p:sp>
        <p:nvSpPr>
          <p:cNvPr id="1441" name="Google Shape;1441;p49"/>
          <p:cNvSpPr txBox="1"/>
          <p:nvPr/>
        </p:nvSpPr>
        <p:spPr>
          <a:xfrm>
            <a:off x="2114766" y="2057414"/>
            <a:ext cx="2119600" cy="432800"/>
          </a:xfrm>
          <a:prstGeom prst="rect">
            <a:avLst/>
          </a:prstGeom>
          <a:noFill/>
          <a:ln>
            <a:noFill/>
          </a:ln>
        </p:spPr>
        <p:txBody>
          <a:bodyPr spcFirstLastPara="1" wrap="square" lIns="121900" tIns="121900" rIns="121900" bIns="121900" anchor="ctr" anchorCtr="0">
            <a:noAutofit/>
          </a:bodyPr>
          <a:lstStyle/>
          <a:p>
            <a:pPr marL="16933" defTabSz="1219170">
              <a:buClr>
                <a:srgbClr val="000000"/>
              </a:buClr>
            </a:pPr>
            <a:r>
              <a:rPr lang="es" sz="1867" b="1" kern="0" dirty="0">
                <a:solidFill>
                  <a:srgbClr val="F29F05"/>
                </a:solidFill>
                <a:latin typeface="Roboto"/>
                <a:ea typeface="Roboto"/>
                <a:cs typeface="Roboto"/>
                <a:sym typeface="Roboto"/>
              </a:rPr>
              <a:t>Strategy</a:t>
            </a:r>
            <a:endParaRPr sz="1867" b="1" kern="0" dirty="0">
              <a:solidFill>
                <a:srgbClr val="F29F05"/>
              </a:solidFill>
              <a:latin typeface="Roboto"/>
              <a:ea typeface="Roboto"/>
              <a:cs typeface="Roboto"/>
              <a:sym typeface="Roboto"/>
            </a:endParaRPr>
          </a:p>
        </p:txBody>
      </p:sp>
      <p:sp>
        <p:nvSpPr>
          <p:cNvPr id="1442" name="Google Shape;1442;p49"/>
          <p:cNvSpPr txBox="1"/>
          <p:nvPr/>
        </p:nvSpPr>
        <p:spPr>
          <a:xfrm>
            <a:off x="5036233" y="1467800"/>
            <a:ext cx="2119600" cy="432800"/>
          </a:xfrm>
          <a:prstGeom prst="rect">
            <a:avLst/>
          </a:prstGeom>
          <a:noFill/>
          <a:ln>
            <a:noFill/>
          </a:ln>
        </p:spPr>
        <p:txBody>
          <a:bodyPr spcFirstLastPara="1" wrap="square" lIns="121900" tIns="121900" rIns="121900" bIns="121900" anchor="ctr" anchorCtr="0">
            <a:noAutofit/>
          </a:bodyPr>
          <a:lstStyle/>
          <a:p>
            <a:pPr marL="16933" algn="ctr" defTabSz="1219170">
              <a:buClr>
                <a:srgbClr val="000000"/>
              </a:buClr>
            </a:pPr>
            <a:r>
              <a:rPr lang="es" sz="1867" b="1" kern="0">
                <a:solidFill>
                  <a:srgbClr val="F2506E"/>
                </a:solidFill>
                <a:latin typeface="Roboto"/>
                <a:ea typeface="Roboto"/>
                <a:cs typeface="Roboto"/>
                <a:sym typeface="Roboto"/>
              </a:rPr>
              <a:t>Release</a:t>
            </a:r>
            <a:endParaRPr sz="1867" b="1" kern="0">
              <a:solidFill>
                <a:srgbClr val="F2506E"/>
              </a:solidFill>
              <a:latin typeface="Roboto"/>
              <a:ea typeface="Roboto"/>
              <a:cs typeface="Roboto"/>
              <a:sym typeface="Roboto"/>
            </a:endParaRPr>
          </a:p>
        </p:txBody>
      </p:sp>
      <p:sp>
        <p:nvSpPr>
          <p:cNvPr id="1443" name="Google Shape;1443;p49"/>
          <p:cNvSpPr txBox="1"/>
          <p:nvPr/>
        </p:nvSpPr>
        <p:spPr>
          <a:xfrm>
            <a:off x="2518119" y="5015913"/>
            <a:ext cx="2092400" cy="432800"/>
          </a:xfrm>
          <a:prstGeom prst="rect">
            <a:avLst/>
          </a:prstGeom>
          <a:noFill/>
          <a:ln>
            <a:noFill/>
          </a:ln>
        </p:spPr>
        <p:txBody>
          <a:bodyPr spcFirstLastPara="1" wrap="square" lIns="121900" tIns="121900" rIns="121900" bIns="121900" anchor="ctr" anchorCtr="0">
            <a:noAutofit/>
          </a:bodyPr>
          <a:lstStyle/>
          <a:p>
            <a:pPr marL="16933" defTabSz="1219170">
              <a:buClr>
                <a:srgbClr val="000000"/>
              </a:buClr>
            </a:pPr>
            <a:r>
              <a:rPr lang="es" sz="1867" b="1" kern="0" dirty="0">
                <a:solidFill>
                  <a:srgbClr val="F28080"/>
                </a:solidFill>
                <a:latin typeface="Roboto"/>
                <a:ea typeface="Roboto"/>
                <a:cs typeface="Roboto"/>
                <a:sym typeface="Roboto"/>
              </a:rPr>
              <a:t>Iteration</a:t>
            </a:r>
            <a:endParaRPr sz="1867" b="1" kern="0" dirty="0">
              <a:solidFill>
                <a:srgbClr val="F28080"/>
              </a:solidFill>
              <a:latin typeface="Roboto"/>
              <a:ea typeface="Roboto"/>
              <a:cs typeface="Roboto"/>
              <a:sym typeface="Roboto"/>
            </a:endParaRPr>
          </a:p>
        </p:txBody>
      </p:sp>
      <p:sp>
        <p:nvSpPr>
          <p:cNvPr id="1444" name="Google Shape;1444;p49"/>
          <p:cNvSpPr txBox="1"/>
          <p:nvPr/>
        </p:nvSpPr>
        <p:spPr>
          <a:xfrm>
            <a:off x="7410867" y="1831419"/>
            <a:ext cx="2092400" cy="432800"/>
          </a:xfrm>
          <a:prstGeom prst="rect">
            <a:avLst/>
          </a:prstGeom>
          <a:noFill/>
          <a:ln>
            <a:noFill/>
          </a:ln>
        </p:spPr>
        <p:txBody>
          <a:bodyPr spcFirstLastPara="1" wrap="square" lIns="121900" tIns="121900" rIns="121900" bIns="121900" anchor="ctr" anchorCtr="0">
            <a:noAutofit/>
          </a:bodyPr>
          <a:lstStyle/>
          <a:p>
            <a:pPr marL="16933" algn="r" defTabSz="1219170">
              <a:buClr>
                <a:srgbClr val="000000"/>
              </a:buClr>
            </a:pPr>
            <a:r>
              <a:rPr lang="es" sz="1867" b="1" kern="0" dirty="0">
                <a:solidFill>
                  <a:srgbClr val="1D2F40"/>
                </a:solidFill>
                <a:latin typeface="Roboto"/>
                <a:ea typeface="Roboto"/>
                <a:cs typeface="Roboto"/>
                <a:sym typeface="Roboto"/>
              </a:rPr>
              <a:t>Daily</a:t>
            </a:r>
            <a:endParaRPr sz="1867" b="1" kern="0" dirty="0">
              <a:solidFill>
                <a:srgbClr val="1D2F40"/>
              </a:solidFill>
              <a:latin typeface="Roboto"/>
              <a:ea typeface="Roboto"/>
              <a:cs typeface="Roboto"/>
              <a:sym typeface="Roboto"/>
            </a:endParaRPr>
          </a:p>
        </p:txBody>
      </p:sp>
      <p:sp>
        <p:nvSpPr>
          <p:cNvPr id="1445" name="Google Shape;1445;p49"/>
          <p:cNvSpPr txBox="1"/>
          <p:nvPr/>
        </p:nvSpPr>
        <p:spPr>
          <a:xfrm>
            <a:off x="7868305" y="5015913"/>
            <a:ext cx="2092400" cy="432800"/>
          </a:xfrm>
          <a:prstGeom prst="rect">
            <a:avLst/>
          </a:prstGeom>
          <a:noFill/>
          <a:ln>
            <a:noFill/>
          </a:ln>
        </p:spPr>
        <p:txBody>
          <a:bodyPr spcFirstLastPara="1" wrap="square" lIns="121900" tIns="121900" rIns="121900" bIns="121900" anchor="ctr" anchorCtr="0">
            <a:noAutofit/>
          </a:bodyPr>
          <a:lstStyle/>
          <a:p>
            <a:pPr marL="16933" algn="r" defTabSz="1219170">
              <a:buClr>
                <a:srgbClr val="000000"/>
              </a:buClr>
            </a:pPr>
            <a:r>
              <a:rPr lang="es" sz="1867" b="1" kern="0" dirty="0">
                <a:solidFill>
                  <a:srgbClr val="43CAD9"/>
                </a:solidFill>
                <a:latin typeface="Roboto"/>
                <a:ea typeface="Roboto"/>
                <a:cs typeface="Roboto"/>
                <a:sym typeface="Roboto"/>
              </a:rPr>
              <a:t>Continuous</a:t>
            </a:r>
            <a:endParaRPr sz="1867" b="1" kern="0" dirty="0">
              <a:solidFill>
                <a:srgbClr val="43CAD9"/>
              </a:solidFill>
              <a:latin typeface="Roboto"/>
              <a:ea typeface="Roboto"/>
              <a:cs typeface="Roboto"/>
              <a:sym typeface="Roboto"/>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9" name="Rectangle 28">
            <a:extLst>
              <a:ext uri="{FF2B5EF4-FFF2-40B4-BE49-F238E27FC236}">
                <a16:creationId xmlns:a16="http://schemas.microsoft.com/office/drawing/2014/main" id="{DA9C8D46-54D8-4DF1-99A2-E651C7B132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 y="0"/>
            <a:ext cx="12191999" cy="6858000"/>
          </a:xfrm>
          <a:prstGeom prst="rect">
            <a:avLst/>
          </a:prstGeom>
          <a:gradFill>
            <a:gsLst>
              <a:gs pos="0">
                <a:schemeClr val="accent1">
                  <a:lumMod val="50000"/>
                </a:schemeClr>
              </a:gs>
              <a:gs pos="100000">
                <a:srgbClr val="000000"/>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Shape 32">
            <a:extLst>
              <a:ext uri="{FF2B5EF4-FFF2-40B4-BE49-F238E27FC236}">
                <a16:creationId xmlns:a16="http://schemas.microsoft.com/office/drawing/2014/main" id="{DE12BF4D-F47A-41C1-85FC-652E412D3B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3988591">
            <a:off x="7897613" y="684022"/>
            <a:ext cx="5330585" cy="5218721"/>
          </a:xfrm>
          <a:custGeom>
            <a:avLst/>
            <a:gdLst>
              <a:gd name="connsiteX0" fmla="*/ 4721855 w 5330585"/>
              <a:gd name="connsiteY0" fmla="*/ 4361426 h 5218721"/>
              <a:gd name="connsiteX1" fmla="*/ 3457542 w 5330585"/>
              <a:gd name="connsiteY1" fmla="*/ 5211667 h 5218721"/>
              <a:gd name="connsiteX2" fmla="*/ 3430109 w 5330585"/>
              <a:gd name="connsiteY2" fmla="*/ 5218721 h 5218721"/>
              <a:gd name="connsiteX3" fmla="*/ 0 w 5330585"/>
              <a:gd name="connsiteY3" fmla="*/ 2647363 h 5218721"/>
              <a:gd name="connsiteX4" fmla="*/ 12834 w 5330585"/>
              <a:gd name="connsiteY4" fmla="*/ 2393199 h 5218721"/>
              <a:gd name="connsiteX5" fmla="*/ 2664828 w 5330585"/>
              <a:gd name="connsiteY5" fmla="*/ 0 h 5218721"/>
              <a:gd name="connsiteX6" fmla="*/ 5330585 w 5330585"/>
              <a:gd name="connsiteY6" fmla="*/ 2665757 h 5218721"/>
              <a:gd name="connsiteX7" fmla="*/ 4721855 w 5330585"/>
              <a:gd name="connsiteY7" fmla="*/ 4361426 h 5218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30585" h="5218721">
                <a:moveTo>
                  <a:pt x="4721855" y="4361426"/>
                </a:moveTo>
                <a:cubicBezTo>
                  <a:pt x="4395896" y="4756397"/>
                  <a:pt x="3958379" y="5055891"/>
                  <a:pt x="3457542" y="5211667"/>
                </a:cubicBezTo>
                <a:lnTo>
                  <a:pt x="3430109" y="5218721"/>
                </a:lnTo>
                <a:lnTo>
                  <a:pt x="0" y="2647363"/>
                </a:lnTo>
                <a:lnTo>
                  <a:pt x="12834" y="2393199"/>
                </a:lnTo>
                <a:cubicBezTo>
                  <a:pt x="149347" y="1048975"/>
                  <a:pt x="1284587" y="0"/>
                  <a:pt x="2664828" y="0"/>
                </a:cubicBezTo>
                <a:cubicBezTo>
                  <a:pt x="4137085" y="0"/>
                  <a:pt x="5330585" y="1193500"/>
                  <a:pt x="5330585" y="2665757"/>
                </a:cubicBezTo>
                <a:cubicBezTo>
                  <a:pt x="5330585" y="3309870"/>
                  <a:pt x="5102142" y="3900626"/>
                  <a:pt x="4721855" y="4361426"/>
                </a:cubicBezTo>
                <a:close/>
              </a:path>
            </a:pathLst>
          </a:custGeom>
          <a:gradFill>
            <a:gsLst>
              <a:gs pos="16000">
                <a:srgbClr val="000000">
                  <a:alpha val="41000"/>
                </a:srgbClr>
              </a:gs>
              <a:gs pos="85000">
                <a:schemeClr val="accent1">
                  <a:alpha val="2500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5" name="Rectangle 34">
            <a:extLst>
              <a:ext uri="{FF2B5EF4-FFF2-40B4-BE49-F238E27FC236}">
                <a16:creationId xmlns:a16="http://schemas.microsoft.com/office/drawing/2014/main" id="{AAF055B3-1F95-4ABA-BFE4-A58320A820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0"/>
            <a:ext cx="12165981" cy="4480890"/>
          </a:xfrm>
          <a:prstGeom prst="rect">
            <a:avLst/>
          </a:prstGeom>
          <a:gradFill>
            <a:gsLst>
              <a:gs pos="0">
                <a:schemeClr val="accent1">
                  <a:lumMod val="75000"/>
                  <a:alpha val="50000"/>
                </a:schemeClr>
              </a:gs>
              <a:gs pos="99000">
                <a:srgbClr val="000000">
                  <a:alpha val="3400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65FBF53F-BBBA-4974-AD72-0E8CD294E5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2622" y="-2"/>
            <a:ext cx="12179371" cy="6400796"/>
          </a:xfrm>
          <a:prstGeom prst="rect">
            <a:avLst/>
          </a:prstGeom>
          <a:gradFill>
            <a:gsLst>
              <a:gs pos="45000">
                <a:schemeClr val="accent1">
                  <a:lumMod val="75000"/>
                  <a:alpha val="0"/>
                </a:schemeClr>
              </a:gs>
              <a:gs pos="99000">
                <a:srgbClr val="000000">
                  <a:alpha val="68000"/>
                </a:srgb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33D84E2-669D-4615-8E9A-01C6FFD68CF3}"/>
              </a:ext>
            </a:extLst>
          </p:cNvPr>
          <p:cNvSpPr>
            <a:spLocks noGrp="1"/>
          </p:cNvSpPr>
          <p:nvPr>
            <p:ph type="title"/>
          </p:nvPr>
        </p:nvSpPr>
        <p:spPr>
          <a:xfrm>
            <a:off x="4221803" y="1201002"/>
            <a:ext cx="7208197" cy="2779619"/>
          </a:xfrm>
        </p:spPr>
        <p:txBody>
          <a:bodyPr vert="horz" lIns="91440" tIns="45720" rIns="91440" bIns="45720" rtlCol="0" anchor="b">
            <a:normAutofit/>
          </a:bodyPr>
          <a:lstStyle/>
          <a:p>
            <a:r>
              <a:rPr lang="en-US" sz="4800" b="1" kern="1200" dirty="0">
                <a:solidFill>
                  <a:srgbClr val="FFFFFF"/>
                </a:solidFill>
                <a:latin typeface="+mj-lt"/>
                <a:ea typeface="+mj-ea"/>
                <a:cs typeface="+mj-cs"/>
              </a:rPr>
              <a:t>Agile Development- Agile based Frameworks</a:t>
            </a:r>
            <a:endParaRPr lang="en-US" sz="4800" kern="1200">
              <a:solidFill>
                <a:srgbClr val="FFFFFF"/>
              </a:solidFill>
              <a:latin typeface="+mj-lt"/>
              <a:ea typeface="+mj-ea"/>
              <a:cs typeface="+mj-cs"/>
            </a:endParaRPr>
          </a:p>
        </p:txBody>
      </p:sp>
      <p:sp>
        <p:nvSpPr>
          <p:cNvPr id="39" name="Rectangle 38">
            <a:extLst>
              <a:ext uri="{FF2B5EF4-FFF2-40B4-BE49-F238E27FC236}">
                <a16:creationId xmlns:a16="http://schemas.microsoft.com/office/drawing/2014/main" id="{5A2875D7-3769-4291-959E-9FAD764A76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461" y="0"/>
            <a:ext cx="3214360" cy="6858000"/>
          </a:xfrm>
          <a:prstGeom prst="rect">
            <a:avLst/>
          </a:prstGeom>
          <a:gradFill>
            <a:gsLst>
              <a:gs pos="0">
                <a:srgbClr val="000000">
                  <a:alpha val="41000"/>
                </a:srgbClr>
              </a:gs>
              <a:gs pos="86000">
                <a:schemeClr val="accent1">
                  <a:alpha val="3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
            <a:extLst>
              <a:ext uri="{FF2B5EF4-FFF2-40B4-BE49-F238E27FC236}">
                <a16:creationId xmlns:a16="http://schemas.microsoft.com/office/drawing/2014/main" id="{58B3944B-A564-4FD4-98CD-3811FD59B8EC}"/>
              </a:ext>
            </a:extLst>
          </p:cNvPr>
          <p:cNvSpPr txBox="1">
            <a:spLocks/>
          </p:cNvSpPr>
          <p:nvPr/>
        </p:nvSpPr>
        <p:spPr>
          <a:xfrm>
            <a:off x="990600" y="1333500"/>
            <a:ext cx="10287000" cy="5086350"/>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sz="1600" dirty="0"/>
          </a:p>
        </p:txBody>
      </p:sp>
    </p:spTree>
    <p:extLst>
      <p:ext uri="{BB962C8B-B14F-4D97-AF65-F5344CB8AC3E}">
        <p14:creationId xmlns:p14="http://schemas.microsoft.com/office/powerpoint/2010/main" val="616192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792072-0DEC-4963-B5F6-3AACAA099AEF}"/>
              </a:ext>
            </a:extLst>
          </p:cNvPr>
          <p:cNvSpPr>
            <a:spLocks noGrp="1"/>
          </p:cNvSpPr>
          <p:nvPr>
            <p:ph type="title"/>
          </p:nvPr>
        </p:nvSpPr>
        <p:spPr/>
        <p:txBody>
          <a:bodyPr/>
          <a:lstStyle/>
          <a:p>
            <a:r>
              <a:rPr lang="en-US" sz="4400" b="1" kern="1200" dirty="0">
                <a:latin typeface="+mj-lt"/>
                <a:ea typeface="+mj-ea"/>
                <a:cs typeface="+mj-cs"/>
              </a:rPr>
              <a:t>Agile Development- Agile based Frameworks</a:t>
            </a:r>
            <a:endParaRPr lang="en-IN" dirty="0"/>
          </a:p>
        </p:txBody>
      </p:sp>
      <p:sp>
        <p:nvSpPr>
          <p:cNvPr id="3" name="TextBox 2">
            <a:extLst>
              <a:ext uri="{FF2B5EF4-FFF2-40B4-BE49-F238E27FC236}">
                <a16:creationId xmlns:a16="http://schemas.microsoft.com/office/drawing/2014/main" id="{1ACFE944-1CF9-4B57-B5B5-83DA82847A85}"/>
              </a:ext>
            </a:extLst>
          </p:cNvPr>
          <p:cNvSpPr txBox="1"/>
          <p:nvPr/>
        </p:nvSpPr>
        <p:spPr>
          <a:xfrm>
            <a:off x="499951" y="2058577"/>
            <a:ext cx="3853543" cy="2031325"/>
          </a:xfrm>
          <a:prstGeom prst="rect">
            <a:avLst/>
          </a:prstGeom>
          <a:noFill/>
        </p:spPr>
        <p:txBody>
          <a:bodyPr wrap="square" rtlCol="0">
            <a:spAutoFit/>
          </a:bodyPr>
          <a:lstStyle/>
          <a:p>
            <a:r>
              <a:rPr lang="en-US" b="1" dirty="0"/>
              <a:t>SCRUM-</a:t>
            </a:r>
            <a:r>
              <a:rPr lang="en-US" dirty="0"/>
              <a:t> Project is built in a series of fixed-length iterations called sprints, giving agile team a framework for shipping software on a regular basis.</a:t>
            </a:r>
          </a:p>
          <a:p>
            <a:endParaRPr lang="en-US" dirty="0"/>
          </a:p>
          <a:p>
            <a:endParaRPr lang="en-US" dirty="0"/>
          </a:p>
          <a:p>
            <a:endParaRPr lang="en-US" dirty="0"/>
          </a:p>
        </p:txBody>
      </p:sp>
      <p:sp>
        <p:nvSpPr>
          <p:cNvPr id="4" name="TextBox 3">
            <a:extLst>
              <a:ext uri="{FF2B5EF4-FFF2-40B4-BE49-F238E27FC236}">
                <a16:creationId xmlns:a16="http://schemas.microsoft.com/office/drawing/2014/main" id="{495C0AD8-69D7-4D07-967F-0DD023E1B453}"/>
              </a:ext>
            </a:extLst>
          </p:cNvPr>
          <p:cNvSpPr txBox="1"/>
          <p:nvPr/>
        </p:nvSpPr>
        <p:spPr>
          <a:xfrm>
            <a:off x="499951" y="3768166"/>
            <a:ext cx="3853543" cy="1754326"/>
          </a:xfrm>
          <a:prstGeom prst="rect">
            <a:avLst/>
          </a:prstGeom>
          <a:noFill/>
        </p:spPr>
        <p:txBody>
          <a:bodyPr wrap="square" rtlCol="0">
            <a:spAutoFit/>
          </a:bodyPr>
          <a:lstStyle/>
          <a:p>
            <a:r>
              <a:rPr lang="en-US" b="1" dirty="0"/>
              <a:t>KANBAN-</a:t>
            </a:r>
            <a:r>
              <a:rPr lang="en-US" dirty="0"/>
              <a:t> It require real time communication of team’s capacity and full transparency of work</a:t>
            </a:r>
          </a:p>
          <a:p>
            <a:endParaRPr lang="en-US" dirty="0"/>
          </a:p>
          <a:p>
            <a:endParaRPr lang="en-US" dirty="0"/>
          </a:p>
          <a:p>
            <a:endParaRPr lang="en-US" dirty="0"/>
          </a:p>
        </p:txBody>
      </p:sp>
      <p:sp>
        <p:nvSpPr>
          <p:cNvPr id="5" name="TextBox 4">
            <a:extLst>
              <a:ext uri="{FF2B5EF4-FFF2-40B4-BE49-F238E27FC236}">
                <a16:creationId xmlns:a16="http://schemas.microsoft.com/office/drawing/2014/main" id="{F5E5BC79-EAC0-44C6-A050-FB2051620307}"/>
              </a:ext>
            </a:extLst>
          </p:cNvPr>
          <p:cNvSpPr txBox="1"/>
          <p:nvPr/>
        </p:nvSpPr>
        <p:spPr>
          <a:xfrm>
            <a:off x="5410963" y="2058577"/>
            <a:ext cx="4544800" cy="2031325"/>
          </a:xfrm>
          <a:prstGeom prst="rect">
            <a:avLst/>
          </a:prstGeom>
          <a:noFill/>
        </p:spPr>
        <p:txBody>
          <a:bodyPr wrap="square" rtlCol="0">
            <a:spAutoFit/>
          </a:bodyPr>
          <a:lstStyle/>
          <a:p>
            <a:r>
              <a:rPr lang="en-US" b="1" dirty="0"/>
              <a:t>EXTREME PROGRAMMING -</a:t>
            </a:r>
            <a:r>
              <a:rPr lang="en-US" dirty="0"/>
              <a:t>aims</a:t>
            </a:r>
            <a:r>
              <a:rPr lang="en-US" b="1" dirty="0"/>
              <a:t> </a:t>
            </a:r>
            <a:r>
              <a:rPr lang="en-US" dirty="0"/>
              <a:t>to produce higher quality software, and higher quality of life for the development team. intended to improve software quality and responsiveness to changing customer requirements</a:t>
            </a:r>
          </a:p>
          <a:p>
            <a:endParaRPr lang="en-US" dirty="0"/>
          </a:p>
          <a:p>
            <a:endParaRPr lang="en-US" dirty="0"/>
          </a:p>
        </p:txBody>
      </p:sp>
      <p:sp>
        <p:nvSpPr>
          <p:cNvPr id="6" name="TextBox 5">
            <a:extLst>
              <a:ext uri="{FF2B5EF4-FFF2-40B4-BE49-F238E27FC236}">
                <a16:creationId xmlns:a16="http://schemas.microsoft.com/office/drawing/2014/main" id="{B20EDE7D-8C40-4D67-8D12-1A882313618F}"/>
              </a:ext>
            </a:extLst>
          </p:cNvPr>
          <p:cNvSpPr txBox="1"/>
          <p:nvPr/>
        </p:nvSpPr>
        <p:spPr>
          <a:xfrm>
            <a:off x="5410963" y="3768166"/>
            <a:ext cx="3853543" cy="2031325"/>
          </a:xfrm>
          <a:prstGeom prst="rect">
            <a:avLst/>
          </a:prstGeom>
          <a:noFill/>
        </p:spPr>
        <p:txBody>
          <a:bodyPr wrap="square" rtlCol="0">
            <a:spAutoFit/>
          </a:bodyPr>
          <a:lstStyle/>
          <a:p>
            <a:r>
              <a:rPr lang="en-US" b="1" dirty="0"/>
              <a:t>CRYSTAL-</a:t>
            </a:r>
            <a:r>
              <a:rPr lang="en-US" dirty="0"/>
              <a:t> a lightweight or agile methodologies which focuses on individuals and the interactions. The methods are color-coded to signify risk to human life</a:t>
            </a:r>
          </a:p>
          <a:p>
            <a:endParaRPr lang="en-US" dirty="0"/>
          </a:p>
          <a:p>
            <a:endParaRPr lang="en-US" dirty="0"/>
          </a:p>
        </p:txBody>
      </p:sp>
      <p:sp>
        <p:nvSpPr>
          <p:cNvPr id="8" name="TextBox 7">
            <a:extLst>
              <a:ext uri="{FF2B5EF4-FFF2-40B4-BE49-F238E27FC236}">
                <a16:creationId xmlns:a16="http://schemas.microsoft.com/office/drawing/2014/main" id="{099B7FCB-11AB-4311-B465-A3DDAE3E7A7A}"/>
              </a:ext>
            </a:extLst>
          </p:cNvPr>
          <p:cNvSpPr txBox="1"/>
          <p:nvPr/>
        </p:nvSpPr>
        <p:spPr>
          <a:xfrm>
            <a:off x="318053" y="5100864"/>
            <a:ext cx="6096000" cy="1767150"/>
          </a:xfrm>
          <a:prstGeom prst="rect">
            <a:avLst/>
          </a:prstGeom>
          <a:noFill/>
        </p:spPr>
        <p:txBody>
          <a:bodyPr wrap="square">
            <a:spAutoFit/>
          </a:bodyPr>
          <a:lstStyle/>
          <a:p>
            <a:pPr marL="12065">
              <a:lnSpc>
                <a:spcPct val="100000"/>
              </a:lnSpc>
              <a:spcBef>
                <a:spcPts val="105"/>
              </a:spcBef>
              <a:tabLst>
                <a:tab pos="247650" algn="l"/>
              </a:tabLst>
            </a:pPr>
            <a:r>
              <a:rPr lang="en-IN" sz="1800" b="1" dirty="0">
                <a:latin typeface="Carlito"/>
                <a:cs typeface="Carlito"/>
              </a:rPr>
              <a:t>Others:</a:t>
            </a:r>
          </a:p>
          <a:p>
            <a:pPr marL="297815" indent="-285750">
              <a:lnSpc>
                <a:spcPct val="100000"/>
              </a:lnSpc>
              <a:spcBef>
                <a:spcPts val="105"/>
              </a:spcBef>
              <a:buFont typeface="Arial" panose="020B0604020202020204" pitchFamily="34" charset="0"/>
              <a:buChar char="•"/>
              <a:tabLst>
                <a:tab pos="247650" algn="l"/>
              </a:tabLst>
            </a:pPr>
            <a:r>
              <a:rPr lang="en-IN" sz="1800" dirty="0">
                <a:latin typeface="Carlito"/>
                <a:cs typeface="Carlito"/>
              </a:rPr>
              <a:t>Rapid </a:t>
            </a:r>
            <a:r>
              <a:rPr lang="en-IN" sz="1800" spc="-10" dirty="0">
                <a:latin typeface="Carlito"/>
                <a:cs typeface="Carlito"/>
              </a:rPr>
              <a:t>Application Development</a:t>
            </a:r>
            <a:r>
              <a:rPr lang="en-IN" sz="1800" spc="40" dirty="0">
                <a:latin typeface="Carlito"/>
                <a:cs typeface="Carlito"/>
              </a:rPr>
              <a:t> </a:t>
            </a:r>
            <a:r>
              <a:rPr lang="en-IN" sz="1800" spc="-5" dirty="0">
                <a:latin typeface="Carlito"/>
                <a:cs typeface="Carlito"/>
              </a:rPr>
              <a:t>(RAD)</a:t>
            </a:r>
            <a:endParaRPr lang="en-IN" sz="1800" dirty="0">
              <a:latin typeface="Carlito"/>
              <a:cs typeface="Carlito"/>
            </a:endParaRPr>
          </a:p>
          <a:p>
            <a:pPr marL="247015" indent="-234950">
              <a:lnSpc>
                <a:spcPct val="100000"/>
              </a:lnSpc>
              <a:buFont typeface="Arial"/>
              <a:buChar char="•"/>
              <a:tabLst>
                <a:tab pos="247650" algn="l"/>
              </a:tabLst>
            </a:pPr>
            <a:r>
              <a:rPr lang="en-IN" sz="1800" spc="-10" dirty="0">
                <a:latin typeface="Carlito"/>
                <a:cs typeface="Carlito"/>
              </a:rPr>
              <a:t>Adaptive </a:t>
            </a:r>
            <a:r>
              <a:rPr lang="en-IN" sz="1800" spc="-15" dirty="0">
                <a:latin typeface="Carlito"/>
                <a:cs typeface="Carlito"/>
              </a:rPr>
              <a:t>Software </a:t>
            </a:r>
            <a:r>
              <a:rPr lang="en-IN" sz="1800" spc="-10" dirty="0">
                <a:latin typeface="Carlito"/>
                <a:cs typeface="Carlito"/>
              </a:rPr>
              <a:t>Development</a:t>
            </a:r>
            <a:r>
              <a:rPr lang="en-IN" sz="1800" spc="40" dirty="0">
                <a:latin typeface="Carlito"/>
                <a:cs typeface="Carlito"/>
              </a:rPr>
              <a:t> </a:t>
            </a:r>
            <a:r>
              <a:rPr lang="en-IN" sz="1800" spc="-5" dirty="0">
                <a:latin typeface="Carlito"/>
                <a:cs typeface="Carlito"/>
              </a:rPr>
              <a:t>(ASD)</a:t>
            </a:r>
            <a:endParaRPr lang="en-IN" sz="1800" dirty="0">
              <a:latin typeface="Carlito"/>
              <a:cs typeface="Carlito"/>
            </a:endParaRPr>
          </a:p>
          <a:p>
            <a:pPr marL="247015" indent="-234950">
              <a:lnSpc>
                <a:spcPct val="100000"/>
              </a:lnSpc>
              <a:buFont typeface="Arial"/>
              <a:buChar char="•"/>
              <a:tabLst>
                <a:tab pos="247650" algn="l"/>
              </a:tabLst>
            </a:pPr>
            <a:r>
              <a:rPr lang="en-IN" sz="1800" spc="-15" dirty="0">
                <a:latin typeface="Carlito"/>
                <a:cs typeface="Carlito"/>
              </a:rPr>
              <a:t>Feature </a:t>
            </a:r>
            <a:r>
              <a:rPr lang="en-IN" sz="1800" spc="-10" dirty="0">
                <a:latin typeface="Carlito"/>
                <a:cs typeface="Carlito"/>
              </a:rPr>
              <a:t>Driven Development</a:t>
            </a:r>
            <a:r>
              <a:rPr lang="en-IN" sz="1800" spc="20" dirty="0">
                <a:latin typeface="Carlito"/>
                <a:cs typeface="Carlito"/>
              </a:rPr>
              <a:t> </a:t>
            </a:r>
            <a:r>
              <a:rPr lang="en-IN" sz="1800" spc="-5" dirty="0">
                <a:latin typeface="Carlito"/>
                <a:cs typeface="Carlito"/>
              </a:rPr>
              <a:t>(FDD)</a:t>
            </a:r>
            <a:endParaRPr lang="en-IN" sz="1800" dirty="0">
              <a:latin typeface="Carlito"/>
              <a:cs typeface="Carlito"/>
            </a:endParaRPr>
          </a:p>
          <a:p>
            <a:pPr marL="247015" indent="-234950">
              <a:lnSpc>
                <a:spcPct val="100000"/>
              </a:lnSpc>
              <a:spcBef>
                <a:spcPts val="5"/>
              </a:spcBef>
              <a:buFont typeface="Arial"/>
              <a:buChar char="•"/>
              <a:tabLst>
                <a:tab pos="247650" algn="l"/>
              </a:tabLst>
            </a:pPr>
            <a:r>
              <a:rPr lang="en-IN" sz="1800" spc="-5" dirty="0">
                <a:latin typeface="Carlito"/>
                <a:cs typeface="Carlito"/>
              </a:rPr>
              <a:t>Dynamic </a:t>
            </a:r>
            <a:r>
              <a:rPr lang="en-IN" sz="1800" spc="-15" dirty="0">
                <a:latin typeface="Carlito"/>
                <a:cs typeface="Carlito"/>
              </a:rPr>
              <a:t>Software </a:t>
            </a:r>
            <a:r>
              <a:rPr lang="en-IN" sz="1800" spc="-10" dirty="0">
                <a:latin typeface="Carlito"/>
                <a:cs typeface="Carlito"/>
              </a:rPr>
              <a:t>Development </a:t>
            </a:r>
            <a:r>
              <a:rPr lang="en-IN" sz="1800" spc="-5" dirty="0">
                <a:latin typeface="Carlito"/>
                <a:cs typeface="Carlito"/>
              </a:rPr>
              <a:t>Method</a:t>
            </a:r>
            <a:r>
              <a:rPr lang="en-IN" sz="1800" spc="55" dirty="0">
                <a:latin typeface="Carlito"/>
                <a:cs typeface="Carlito"/>
              </a:rPr>
              <a:t> </a:t>
            </a:r>
            <a:r>
              <a:rPr lang="en-IN" sz="1800" spc="-5" dirty="0">
                <a:latin typeface="Carlito"/>
                <a:cs typeface="Carlito"/>
              </a:rPr>
              <a:t>(DSDM)</a:t>
            </a:r>
            <a:endParaRPr lang="en-IN" sz="1800" dirty="0">
              <a:latin typeface="Carlito"/>
              <a:cs typeface="Carlito"/>
            </a:endParaRPr>
          </a:p>
          <a:p>
            <a:pPr marL="247015" indent="-234950">
              <a:lnSpc>
                <a:spcPct val="100000"/>
              </a:lnSpc>
              <a:buFont typeface="Arial"/>
              <a:buChar char="•"/>
              <a:tabLst>
                <a:tab pos="247650" algn="l"/>
              </a:tabLst>
            </a:pPr>
            <a:r>
              <a:rPr lang="en-IN" sz="1800" spc="-5" dirty="0">
                <a:latin typeface="Carlito"/>
                <a:cs typeface="Carlito"/>
              </a:rPr>
              <a:t>Rational Unify </a:t>
            </a:r>
            <a:r>
              <a:rPr lang="en-IN" sz="1800" spc="-10" dirty="0">
                <a:latin typeface="Carlito"/>
                <a:cs typeface="Carlito"/>
              </a:rPr>
              <a:t>Process</a:t>
            </a:r>
            <a:r>
              <a:rPr lang="en-IN" sz="1800" spc="5" dirty="0">
                <a:latin typeface="Carlito"/>
                <a:cs typeface="Carlito"/>
              </a:rPr>
              <a:t> </a:t>
            </a:r>
            <a:r>
              <a:rPr lang="en-IN" sz="1800" spc="-5" dirty="0">
                <a:latin typeface="Carlito"/>
                <a:cs typeface="Carlito"/>
              </a:rPr>
              <a:t>(RUP)</a:t>
            </a:r>
            <a:endParaRPr lang="en-IN" sz="1800" dirty="0">
              <a:latin typeface="Carlito"/>
              <a:cs typeface="Carlito"/>
            </a:endParaRPr>
          </a:p>
        </p:txBody>
      </p:sp>
    </p:spTree>
    <p:extLst>
      <p:ext uri="{BB962C8B-B14F-4D97-AF65-F5344CB8AC3E}">
        <p14:creationId xmlns:p14="http://schemas.microsoft.com/office/powerpoint/2010/main" val="16844542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DE2B55-543E-49B4-98B6-677951009D8E}"/>
              </a:ext>
            </a:extLst>
          </p:cNvPr>
          <p:cNvSpPr>
            <a:spLocks noGrp="1"/>
          </p:cNvSpPr>
          <p:nvPr>
            <p:ph type="title"/>
          </p:nvPr>
        </p:nvSpPr>
        <p:spPr/>
        <p:txBody>
          <a:bodyPr/>
          <a:lstStyle/>
          <a:p>
            <a:r>
              <a:rPr lang="en-IN" dirty="0"/>
              <a:t>SCRUM Framework</a:t>
            </a:r>
            <a:endParaRPr lang="en-US" dirty="0"/>
          </a:p>
        </p:txBody>
      </p:sp>
      <p:pic>
        <p:nvPicPr>
          <p:cNvPr id="1026" name="Picture 2" descr="The Scrum Framework Poster">
            <a:extLst>
              <a:ext uri="{FF2B5EF4-FFF2-40B4-BE49-F238E27FC236}">
                <a16:creationId xmlns:a16="http://schemas.microsoft.com/office/drawing/2014/main" id="{D2DE101F-746C-4B66-BABC-B2BCA00D32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7294" y="1288577"/>
            <a:ext cx="10515600" cy="5257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3187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8E89D5E-1885-4160-AC77-CC471DD1D0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3600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29ADD07-804A-41F3-BEB6-0D7D02D8AE73}"/>
              </a:ext>
            </a:extLst>
          </p:cNvPr>
          <p:cNvSpPr>
            <a:spLocks noGrp="1"/>
          </p:cNvSpPr>
          <p:nvPr>
            <p:ph type="title"/>
          </p:nvPr>
        </p:nvSpPr>
        <p:spPr>
          <a:xfrm>
            <a:off x="943277" y="712269"/>
            <a:ext cx="3370998" cy="5502264"/>
          </a:xfrm>
        </p:spPr>
        <p:txBody>
          <a:bodyPr>
            <a:normAutofit/>
          </a:bodyPr>
          <a:lstStyle/>
          <a:p>
            <a:r>
              <a:rPr lang="en-US">
                <a:solidFill>
                  <a:srgbClr val="FFFFFF"/>
                </a:solidFill>
              </a:rPr>
              <a:t>What is SDLC</a:t>
            </a:r>
            <a:endParaRPr lang="en-IN">
              <a:solidFill>
                <a:srgbClr val="FFFFFF"/>
              </a:solidFill>
            </a:endParaRPr>
          </a:p>
        </p:txBody>
      </p:sp>
      <p:cxnSp>
        <p:nvCxnSpPr>
          <p:cNvPr id="11" name="Straight Connector 10">
            <a:extLst>
              <a:ext uri="{FF2B5EF4-FFF2-40B4-BE49-F238E27FC236}">
                <a16:creationId xmlns:a16="http://schemas.microsoft.com/office/drawing/2014/main" id="{550D2BD1-98F9-412D-905B-3A843EF4078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585216" y="2971800"/>
            <a:ext cx="0" cy="914400"/>
          </a:xfrm>
          <a:prstGeom prst="line">
            <a:avLst/>
          </a:prstGeom>
          <a:ln w="190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D899554F-2E1D-4C05-93AD-718C7C171759}"/>
              </a:ext>
            </a:extLst>
          </p:cNvPr>
          <p:cNvSpPr>
            <a:spLocks noGrp="1"/>
          </p:cNvSpPr>
          <p:nvPr>
            <p:ph idx="1"/>
          </p:nvPr>
        </p:nvSpPr>
        <p:spPr>
          <a:xfrm>
            <a:off x="4994068" y="1721796"/>
            <a:ext cx="6359732" cy="4455167"/>
          </a:xfrm>
        </p:spPr>
        <p:txBody>
          <a:bodyPr/>
          <a:lstStyle/>
          <a:p>
            <a:r>
              <a:rPr lang="en-US" dirty="0"/>
              <a:t>process for planning, creating, </a:t>
            </a:r>
            <a:r>
              <a:rPr lang="en-US" b="1" dirty="0"/>
              <a:t>testing</a:t>
            </a:r>
            <a:r>
              <a:rPr lang="en-US" dirty="0"/>
              <a:t>, and deploying an information system</a:t>
            </a:r>
          </a:p>
        </p:txBody>
      </p:sp>
    </p:spTree>
    <p:extLst>
      <p:ext uri="{BB962C8B-B14F-4D97-AF65-F5344CB8AC3E}">
        <p14:creationId xmlns:p14="http://schemas.microsoft.com/office/powerpoint/2010/main" val="31305948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819A166-7571-4003-A6B8-B62034C3ED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509320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194F708-325C-473B-A404-CA106204E8F8}"/>
              </a:ext>
            </a:extLst>
          </p:cNvPr>
          <p:cNvSpPr>
            <a:spLocks noGrp="1"/>
          </p:cNvSpPr>
          <p:nvPr>
            <p:ph type="title"/>
          </p:nvPr>
        </p:nvSpPr>
        <p:spPr>
          <a:xfrm>
            <a:off x="524741" y="620392"/>
            <a:ext cx="3808268" cy="5504688"/>
          </a:xfrm>
        </p:spPr>
        <p:txBody>
          <a:bodyPr>
            <a:normAutofit/>
          </a:bodyPr>
          <a:lstStyle/>
          <a:p>
            <a:r>
              <a:rPr lang="en-IN" sz="4700">
                <a:solidFill>
                  <a:schemeClr val="bg1"/>
                </a:solidFill>
              </a:rPr>
              <a:t>SCRUM TERMINOLOGY</a:t>
            </a:r>
            <a:endParaRPr lang="en-US" sz="4700">
              <a:solidFill>
                <a:schemeClr val="bg1"/>
              </a:solidFill>
            </a:endParaRPr>
          </a:p>
        </p:txBody>
      </p:sp>
      <p:graphicFrame>
        <p:nvGraphicFramePr>
          <p:cNvPr id="5" name="Content Placeholder 2">
            <a:extLst>
              <a:ext uri="{FF2B5EF4-FFF2-40B4-BE49-F238E27FC236}">
                <a16:creationId xmlns:a16="http://schemas.microsoft.com/office/drawing/2014/main" id="{78FD966C-54F9-47CA-BED3-9DE58F38CF31}"/>
              </a:ext>
            </a:extLst>
          </p:cNvPr>
          <p:cNvGraphicFramePr>
            <a:graphicFrameLocks noGrp="1"/>
          </p:cNvGraphicFramePr>
          <p:nvPr>
            <p:ph idx="1"/>
            <p:extLst>
              <p:ext uri="{D42A27DB-BD31-4B8C-83A1-F6EECF244321}">
                <p14:modId xmlns:p14="http://schemas.microsoft.com/office/powerpoint/2010/main" val="2475342792"/>
              </p:ext>
            </p:extLst>
          </p:nvPr>
        </p:nvGraphicFramePr>
        <p:xfrm>
          <a:off x="5468389" y="620392"/>
          <a:ext cx="6263640" cy="55046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836965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Rectangle 17">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le 1">
            <a:extLst>
              <a:ext uri="{FF2B5EF4-FFF2-40B4-BE49-F238E27FC236}">
                <a16:creationId xmlns:a16="http://schemas.microsoft.com/office/drawing/2014/main" id="{AE35F145-A030-4B37-9AA1-74C726EBCE45}"/>
              </a:ext>
            </a:extLst>
          </p:cNvPr>
          <p:cNvSpPr>
            <a:spLocks noGrp="1"/>
          </p:cNvSpPr>
          <p:nvPr>
            <p:ph type="title"/>
          </p:nvPr>
        </p:nvSpPr>
        <p:spPr>
          <a:xfrm>
            <a:off x="958506" y="800392"/>
            <a:ext cx="10264697" cy="1212102"/>
          </a:xfrm>
        </p:spPr>
        <p:txBody>
          <a:bodyPr>
            <a:normAutofit/>
          </a:bodyPr>
          <a:lstStyle/>
          <a:p>
            <a:r>
              <a:rPr lang="en-IN" sz="4000">
                <a:solidFill>
                  <a:srgbClr val="FFFFFF"/>
                </a:solidFill>
              </a:rPr>
              <a:t>SCRUM Artefacts</a:t>
            </a:r>
            <a:endParaRPr lang="en-US" sz="4000">
              <a:solidFill>
                <a:srgbClr val="FFFFFF"/>
              </a:solidFill>
            </a:endParaRPr>
          </a:p>
        </p:txBody>
      </p:sp>
      <p:sp>
        <p:nvSpPr>
          <p:cNvPr id="3" name="Content Placeholder 2">
            <a:extLst>
              <a:ext uri="{FF2B5EF4-FFF2-40B4-BE49-F238E27FC236}">
                <a16:creationId xmlns:a16="http://schemas.microsoft.com/office/drawing/2014/main" id="{0131FB0A-DA80-44E5-ACE1-93E12053BF71}"/>
              </a:ext>
            </a:extLst>
          </p:cNvPr>
          <p:cNvSpPr>
            <a:spLocks noGrp="1"/>
          </p:cNvSpPr>
          <p:nvPr>
            <p:ph idx="1"/>
          </p:nvPr>
        </p:nvSpPr>
        <p:spPr>
          <a:xfrm>
            <a:off x="1367624" y="2490436"/>
            <a:ext cx="9708995" cy="3567173"/>
          </a:xfrm>
        </p:spPr>
        <p:txBody>
          <a:bodyPr anchor="ctr">
            <a:normAutofit/>
          </a:bodyPr>
          <a:lstStyle/>
          <a:p>
            <a:r>
              <a:rPr lang="en-IN" sz="2000"/>
              <a:t>Product Backlog</a:t>
            </a:r>
          </a:p>
          <a:p>
            <a:pPr lvl="1"/>
            <a:r>
              <a:rPr lang="en-US" sz="2000"/>
              <a:t>Product Backlog is an emergent, ordered list of what is needed to improve the product. It is the single source of work undertaken by the Scrum Team</a:t>
            </a:r>
            <a:endParaRPr lang="en-IN" sz="2000"/>
          </a:p>
          <a:p>
            <a:r>
              <a:rPr lang="en-IN" sz="2000"/>
              <a:t>Sprint Backlog</a:t>
            </a:r>
          </a:p>
          <a:p>
            <a:pPr lvl="1"/>
            <a:r>
              <a:rPr lang="en-US" sz="2000"/>
              <a:t>Sprint Backlog is composed of the Sprint Goal (why), the set of Product Backlog items selected for the Sprint (what), as well as an actionable plan for delivering the Increment (how).</a:t>
            </a:r>
            <a:endParaRPr lang="en-IN" sz="2000"/>
          </a:p>
          <a:p>
            <a:r>
              <a:rPr lang="en-IN" sz="2000"/>
              <a:t>Increment</a:t>
            </a:r>
          </a:p>
          <a:p>
            <a:pPr lvl="1"/>
            <a:r>
              <a:rPr lang="en-US" sz="2000"/>
              <a:t>Increment is a concrete stepping stone toward the Product Goal. Each Increment is additive to all prior Increments and thoroughly verified, ensuring that all Increments work together. In order to provide value, the Increment must be usable.</a:t>
            </a:r>
            <a:endParaRPr lang="en-IN" sz="2000"/>
          </a:p>
          <a:p>
            <a:endParaRPr lang="en-US" sz="2000"/>
          </a:p>
        </p:txBody>
      </p:sp>
    </p:spTree>
    <p:extLst>
      <p:ext uri="{BB962C8B-B14F-4D97-AF65-F5344CB8AC3E}">
        <p14:creationId xmlns:p14="http://schemas.microsoft.com/office/powerpoint/2010/main" val="37622465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56E9B3E6-E277-4D68-BA48-9CB43FFBD6E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AE1C45F0-260A-458C-96ED-C1F6D215121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 y="1216597"/>
            <a:ext cx="731521" cy="673460"/>
            <a:chOff x="3940602" y="308034"/>
            <a:chExt cx="2116791" cy="3428999"/>
          </a:xfrm>
          <a:solidFill>
            <a:schemeClr val="accent4"/>
          </a:solidFill>
        </p:grpSpPr>
        <p:sp>
          <p:nvSpPr>
            <p:cNvPr id="13" name="Rectangle 12">
              <a:extLst>
                <a:ext uri="{FF2B5EF4-FFF2-40B4-BE49-F238E27FC236}">
                  <a16:creationId xmlns:a16="http://schemas.microsoft.com/office/drawing/2014/main" id="{A6604B49-AD5C-4590-B051-06C8222ECD9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743ECCAF-29C5-4537-947C-7EA1292463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ED49787B-8DE6-4467-AD0A-8DECC6E0C2D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Rectangle 16">
            <a:extLst>
              <a:ext uri="{FF2B5EF4-FFF2-40B4-BE49-F238E27FC236}">
                <a16:creationId xmlns:a16="http://schemas.microsoft.com/office/drawing/2014/main" id="{D5B0017B-2ECA-49AF-B397-DC140825DF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79" y="613954"/>
            <a:ext cx="10907487" cy="1894116"/>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03B609C6-CB2E-42A9-B476-CBC504A988BD}"/>
              </a:ext>
            </a:extLst>
          </p:cNvPr>
          <p:cNvSpPr>
            <a:spLocks noGrp="1"/>
          </p:cNvSpPr>
          <p:nvPr>
            <p:ph type="title"/>
          </p:nvPr>
        </p:nvSpPr>
        <p:spPr>
          <a:xfrm>
            <a:off x="1043631" y="809898"/>
            <a:ext cx="10173010" cy="1554480"/>
          </a:xfrm>
        </p:spPr>
        <p:txBody>
          <a:bodyPr anchor="ctr">
            <a:normAutofit/>
          </a:bodyPr>
          <a:lstStyle/>
          <a:p>
            <a:r>
              <a:rPr lang="en-IN" sz="4800"/>
              <a:t>Kanban Framework</a:t>
            </a:r>
            <a:endParaRPr lang="en-US" sz="4800"/>
          </a:p>
        </p:txBody>
      </p:sp>
      <p:cxnSp>
        <p:nvCxnSpPr>
          <p:cNvPr id="19" name="Straight Connector 18">
            <a:extLst>
              <a:ext uri="{FF2B5EF4-FFF2-40B4-BE49-F238E27FC236}">
                <a16:creationId xmlns:a16="http://schemas.microsoft.com/office/drawing/2014/main" id="{6CF1BAF6-AD41-4082-B212-8A1F9A2E877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38200" y="6485313"/>
            <a:ext cx="1051560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aphicFrame>
        <p:nvGraphicFramePr>
          <p:cNvPr id="6" name="Content Placeholder 3">
            <a:extLst>
              <a:ext uri="{FF2B5EF4-FFF2-40B4-BE49-F238E27FC236}">
                <a16:creationId xmlns:a16="http://schemas.microsoft.com/office/drawing/2014/main" id="{12F3B329-B654-4A5E-8647-E430B7AE2671}"/>
              </a:ext>
            </a:extLst>
          </p:cNvPr>
          <p:cNvGraphicFramePr>
            <a:graphicFrameLocks noGrp="1"/>
          </p:cNvGraphicFramePr>
          <p:nvPr>
            <p:ph idx="1"/>
            <p:extLst>
              <p:ext uri="{D42A27DB-BD31-4B8C-83A1-F6EECF244321}">
                <p14:modId xmlns:p14="http://schemas.microsoft.com/office/powerpoint/2010/main" val="1691924340"/>
              </p:ext>
            </p:extLst>
          </p:nvPr>
        </p:nvGraphicFramePr>
        <p:xfrm>
          <a:off x="904602" y="3017519"/>
          <a:ext cx="10378440" cy="32099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496196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B26EE4FD-480F-42A5-9FEB-DA630457CF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5">
            <a:extLst>
              <a:ext uri="{FF2B5EF4-FFF2-40B4-BE49-F238E27FC236}">
                <a16:creationId xmlns:a16="http://schemas.microsoft.com/office/drawing/2014/main" id="{A187062F-BE14-42FC-B06A-607DB23849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H="1">
            <a:off x="842688" y="1766812"/>
            <a:ext cx="822493" cy="4232692"/>
          </a:xfrm>
          <a:custGeom>
            <a:avLst/>
            <a:gdLst>
              <a:gd name="T0" fmla="*/ 491 w 491"/>
              <a:gd name="T1" fmla="*/ 2247 h 2732"/>
              <a:gd name="T2" fmla="*/ 0 w 491"/>
              <a:gd name="T3" fmla="*/ 2732 h 2732"/>
              <a:gd name="T4" fmla="*/ 0 w 491"/>
              <a:gd name="T5" fmla="*/ 486 h 2732"/>
              <a:gd name="T6" fmla="*/ 491 w 491"/>
              <a:gd name="T7" fmla="*/ 0 h 2732"/>
              <a:gd name="T8" fmla="*/ 491 w 491"/>
              <a:gd name="T9" fmla="*/ 2247 h 2732"/>
            </a:gdLst>
            <a:ahLst/>
            <a:cxnLst>
              <a:cxn ang="0">
                <a:pos x="T0" y="T1"/>
              </a:cxn>
              <a:cxn ang="0">
                <a:pos x="T2" y="T3"/>
              </a:cxn>
              <a:cxn ang="0">
                <a:pos x="T4" y="T5"/>
              </a:cxn>
              <a:cxn ang="0">
                <a:pos x="T6" y="T7"/>
              </a:cxn>
              <a:cxn ang="0">
                <a:pos x="T8" y="T9"/>
              </a:cxn>
            </a:cxnLst>
            <a:rect l="0" t="0" r="r" b="b"/>
            <a:pathLst>
              <a:path w="491" h="2732">
                <a:moveTo>
                  <a:pt x="491" y="2247"/>
                </a:moveTo>
                <a:lnTo>
                  <a:pt x="0" y="2732"/>
                </a:lnTo>
                <a:lnTo>
                  <a:pt x="0" y="486"/>
                </a:lnTo>
                <a:lnTo>
                  <a:pt x="491" y="0"/>
                </a:lnTo>
                <a:lnTo>
                  <a:pt x="491" y="224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731FE21B-2A45-4BF5-8B03-E123419887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H="1">
            <a:off x="842689" y="1423780"/>
            <a:ext cx="687754" cy="3820236"/>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2DC5A94D-79ED-48F5-9DC5-96CBB507CE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H="1">
            <a:off x="1183243" y="1239381"/>
            <a:ext cx="347200" cy="3699705"/>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Rectangle 8">
            <a:extLst>
              <a:ext uri="{FF2B5EF4-FFF2-40B4-BE49-F238E27FC236}">
                <a16:creationId xmlns:a16="http://schemas.microsoft.com/office/drawing/2014/main" id="{93A3D4BE-AF25-4F9A-9C29-1145CCE24A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H="1">
            <a:off x="1183242" y="1230651"/>
            <a:ext cx="10208658" cy="353107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Title 3">
            <a:extLst>
              <a:ext uri="{FF2B5EF4-FFF2-40B4-BE49-F238E27FC236}">
                <a16:creationId xmlns:a16="http://schemas.microsoft.com/office/drawing/2014/main" id="{F6F1A106-13A8-4C3C-9FDD-300D2DEB45CD}"/>
              </a:ext>
            </a:extLst>
          </p:cNvPr>
          <p:cNvSpPr>
            <a:spLocks noGrp="1"/>
          </p:cNvSpPr>
          <p:nvPr>
            <p:ph type="title"/>
          </p:nvPr>
        </p:nvSpPr>
        <p:spPr>
          <a:xfrm>
            <a:off x="1870997" y="1607809"/>
            <a:ext cx="9236026" cy="2876680"/>
          </a:xfrm>
        </p:spPr>
        <p:txBody>
          <a:bodyPr vert="horz" lIns="91440" tIns="45720" rIns="91440" bIns="45720" rtlCol="0" anchor="b">
            <a:normAutofit/>
          </a:bodyPr>
          <a:lstStyle/>
          <a:p>
            <a:r>
              <a:rPr lang="en-US" sz="6600" kern="1200">
                <a:solidFill>
                  <a:srgbClr val="FFFFFF"/>
                </a:solidFill>
                <a:latin typeface="+mj-lt"/>
                <a:ea typeface="+mj-ea"/>
                <a:cs typeface="+mj-cs"/>
              </a:rPr>
              <a:t>Demo – Project Implementation</a:t>
            </a:r>
          </a:p>
        </p:txBody>
      </p:sp>
    </p:spTree>
    <p:extLst>
      <p:ext uri="{BB962C8B-B14F-4D97-AF65-F5344CB8AC3E}">
        <p14:creationId xmlns:p14="http://schemas.microsoft.com/office/powerpoint/2010/main" val="1669830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76EFD3D9-44F0-4267-BCC1-1613E79D82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6">
            <a:extLst>
              <a:ext uri="{FF2B5EF4-FFF2-40B4-BE49-F238E27FC236}">
                <a16:creationId xmlns:a16="http://schemas.microsoft.com/office/drawing/2014/main" id="{A779A851-95D6-41AF-937A-B0E4B7F6FA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142164" y="900814"/>
            <a:ext cx="759618" cy="5710965"/>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953FB2E7-B6CB-429C-81EB-D9516D6D5C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144437" y="633165"/>
            <a:ext cx="482654" cy="5521414"/>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2EC40DB1-B719-4A13-9A4D-0966B4B278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4621" y="636723"/>
            <a:ext cx="4000062" cy="5257799"/>
          </a:xfrm>
          <a:custGeom>
            <a:avLst/>
            <a:gdLst>
              <a:gd name="connsiteX0" fmla="*/ 0 w 4634682"/>
              <a:gd name="connsiteY0" fmla="*/ 0 h 5257799"/>
              <a:gd name="connsiteX1" fmla="*/ 4634682 w 4634682"/>
              <a:gd name="connsiteY1" fmla="*/ 0 h 5257799"/>
              <a:gd name="connsiteX2" fmla="*/ 4634682 w 4634682"/>
              <a:gd name="connsiteY2" fmla="*/ 5257799 h 5257799"/>
              <a:gd name="connsiteX3" fmla="*/ 0 w 4634682"/>
              <a:gd name="connsiteY3" fmla="*/ 5257799 h 5257799"/>
            </a:gdLst>
            <a:ahLst/>
            <a:cxnLst>
              <a:cxn ang="0">
                <a:pos x="connsiteX0" y="connsiteY0"/>
              </a:cxn>
              <a:cxn ang="0">
                <a:pos x="connsiteX1" y="connsiteY1"/>
              </a:cxn>
              <a:cxn ang="0">
                <a:pos x="connsiteX2" y="connsiteY2"/>
              </a:cxn>
              <a:cxn ang="0">
                <a:pos x="connsiteX3" y="connsiteY3"/>
              </a:cxn>
            </a:cxnLst>
            <a:rect l="l" t="t" r="r" b="b"/>
            <a:pathLst>
              <a:path w="4634682" h="5257799">
                <a:moveTo>
                  <a:pt x="0" y="0"/>
                </a:moveTo>
                <a:lnTo>
                  <a:pt x="4634682" y="0"/>
                </a:lnTo>
                <a:lnTo>
                  <a:pt x="4634682" y="5257799"/>
                </a:lnTo>
                <a:lnTo>
                  <a:pt x="0" y="5257799"/>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3">
            <a:extLst>
              <a:ext uri="{FF2B5EF4-FFF2-40B4-BE49-F238E27FC236}">
                <a16:creationId xmlns:a16="http://schemas.microsoft.com/office/drawing/2014/main" id="{92AB9C26-2B0D-45C7-B42E-3B96F61C8A91}"/>
              </a:ext>
            </a:extLst>
          </p:cNvPr>
          <p:cNvSpPr>
            <a:spLocks noGrp="1"/>
          </p:cNvSpPr>
          <p:nvPr>
            <p:ph type="title"/>
          </p:nvPr>
        </p:nvSpPr>
        <p:spPr>
          <a:xfrm>
            <a:off x="934872" y="982272"/>
            <a:ext cx="3388419" cy="4560970"/>
          </a:xfrm>
        </p:spPr>
        <p:txBody>
          <a:bodyPr>
            <a:normAutofit/>
          </a:bodyPr>
          <a:lstStyle/>
          <a:p>
            <a:r>
              <a:rPr lang="en-IN" sz="4000">
                <a:solidFill>
                  <a:srgbClr val="FFFFFF"/>
                </a:solidFill>
              </a:rPr>
              <a:t>Review</a:t>
            </a:r>
            <a:endParaRPr lang="en-US" sz="4000">
              <a:solidFill>
                <a:srgbClr val="FFFFFF"/>
              </a:solidFill>
            </a:endParaRPr>
          </a:p>
        </p:txBody>
      </p:sp>
      <p:sp>
        <p:nvSpPr>
          <p:cNvPr id="18" name="Rectangle 8">
            <a:extLst>
              <a:ext uri="{FF2B5EF4-FFF2-40B4-BE49-F238E27FC236}">
                <a16:creationId xmlns:a16="http://schemas.microsoft.com/office/drawing/2014/main" id="{82211336-CFF3-412D-868A-6679C1004C4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901782" y="1352302"/>
            <a:ext cx="6655597" cy="525164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5" name="Content Placeholder 4">
            <a:extLst>
              <a:ext uri="{FF2B5EF4-FFF2-40B4-BE49-F238E27FC236}">
                <a16:creationId xmlns:a16="http://schemas.microsoft.com/office/drawing/2014/main" id="{B027C1B5-3053-46F7-856B-797225B7094B}"/>
              </a:ext>
            </a:extLst>
          </p:cNvPr>
          <p:cNvSpPr>
            <a:spLocks noGrp="1"/>
          </p:cNvSpPr>
          <p:nvPr>
            <p:ph idx="1"/>
          </p:nvPr>
        </p:nvSpPr>
        <p:spPr>
          <a:xfrm>
            <a:off x="5221862" y="1719618"/>
            <a:ext cx="5948831" cy="4334629"/>
          </a:xfrm>
        </p:spPr>
        <p:txBody>
          <a:bodyPr anchor="ctr">
            <a:normAutofit/>
          </a:bodyPr>
          <a:lstStyle/>
          <a:p>
            <a:r>
              <a:rPr lang="en-IN" sz="2400">
                <a:solidFill>
                  <a:srgbClr val="FEFFFF"/>
                </a:solidFill>
              </a:rPr>
              <a:t>What is SDLC?</a:t>
            </a:r>
          </a:p>
          <a:p>
            <a:r>
              <a:rPr lang="en-IN" sz="2400">
                <a:solidFill>
                  <a:srgbClr val="FEFFFF"/>
                </a:solidFill>
              </a:rPr>
              <a:t>Different methodologies</a:t>
            </a:r>
          </a:p>
          <a:p>
            <a:r>
              <a:rPr lang="en-IN" sz="2400">
                <a:solidFill>
                  <a:srgbClr val="FEFFFF"/>
                </a:solidFill>
              </a:rPr>
              <a:t>Agile Development</a:t>
            </a:r>
          </a:p>
          <a:p>
            <a:r>
              <a:rPr lang="en-IN" sz="2400">
                <a:solidFill>
                  <a:srgbClr val="FEFFFF"/>
                </a:solidFill>
              </a:rPr>
              <a:t>SCRUM</a:t>
            </a:r>
            <a:endParaRPr lang="en-US" sz="2400">
              <a:solidFill>
                <a:srgbClr val="FEFFFF"/>
              </a:solidFill>
            </a:endParaRPr>
          </a:p>
          <a:p>
            <a:r>
              <a:rPr lang="en-US" sz="2400">
                <a:solidFill>
                  <a:srgbClr val="FEFFFF"/>
                </a:solidFill>
              </a:rPr>
              <a:t>Kanban</a:t>
            </a:r>
          </a:p>
          <a:p>
            <a:r>
              <a:rPr lang="en-US" sz="2400">
                <a:solidFill>
                  <a:srgbClr val="FEFFFF"/>
                </a:solidFill>
              </a:rPr>
              <a:t>Projects</a:t>
            </a:r>
          </a:p>
          <a:p>
            <a:endParaRPr lang="en-IN" sz="2400">
              <a:solidFill>
                <a:srgbClr val="FEFFFF"/>
              </a:solidFill>
            </a:endParaRPr>
          </a:p>
        </p:txBody>
      </p:sp>
    </p:spTree>
    <p:extLst>
      <p:ext uri="{BB962C8B-B14F-4D97-AF65-F5344CB8AC3E}">
        <p14:creationId xmlns:p14="http://schemas.microsoft.com/office/powerpoint/2010/main" val="27869596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6">
            <a:extLst>
              <a:ext uri="{FF2B5EF4-FFF2-40B4-BE49-F238E27FC236}">
                <a16:creationId xmlns:a16="http://schemas.microsoft.com/office/drawing/2014/main" id="{CDA1A2E9-63FE-408D-A803-8E306ECAB4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2058" y="450221"/>
            <a:ext cx="11272742" cy="3918123"/>
          </a:xfrm>
          <a:prstGeom prst="rect">
            <a:avLst/>
          </a:prstGeom>
          <a:solidFill>
            <a:srgbClr val="595959"/>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9CCB6AF4-1316-4A41-8810-8DE43DC49A7E}"/>
              </a:ext>
            </a:extLst>
          </p:cNvPr>
          <p:cNvSpPr>
            <a:spLocks noGrp="1"/>
          </p:cNvSpPr>
          <p:nvPr>
            <p:ph type="title"/>
          </p:nvPr>
        </p:nvSpPr>
        <p:spPr>
          <a:xfrm>
            <a:off x="1100669" y="1097339"/>
            <a:ext cx="10011831" cy="2623885"/>
          </a:xfrm>
        </p:spPr>
        <p:txBody>
          <a:bodyPr vert="horz" lIns="91440" tIns="45720" rIns="91440" bIns="45720" rtlCol="0" anchor="ctr">
            <a:normAutofit/>
          </a:bodyPr>
          <a:lstStyle/>
          <a:p>
            <a:pPr algn="ctr"/>
            <a:r>
              <a:rPr lang="en-US" sz="6600" kern="1200">
                <a:solidFill>
                  <a:srgbClr val="FFFFFF"/>
                </a:solidFill>
                <a:latin typeface="+mj-lt"/>
                <a:ea typeface="+mj-ea"/>
                <a:cs typeface="+mj-cs"/>
              </a:rPr>
              <a:t>THANK YOU</a:t>
            </a:r>
          </a:p>
        </p:txBody>
      </p:sp>
      <p:sp>
        <p:nvSpPr>
          <p:cNvPr id="18" name="Rectangle 8">
            <a:extLst>
              <a:ext uri="{FF2B5EF4-FFF2-40B4-BE49-F238E27FC236}">
                <a16:creationId xmlns:a16="http://schemas.microsoft.com/office/drawing/2014/main" id="{DAE8F46F-D590-45CD-AF41-A04DC11D1BB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7200" y="4517136"/>
            <a:ext cx="2112264" cy="1892808"/>
          </a:xfrm>
          <a:prstGeom prst="rect">
            <a:avLst/>
          </a:prstGeom>
          <a:solidFill>
            <a:schemeClr val="accent1">
              <a:alpha val="95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9" name="Rectangle 10">
            <a:extLst>
              <a:ext uri="{FF2B5EF4-FFF2-40B4-BE49-F238E27FC236}">
                <a16:creationId xmlns:a16="http://schemas.microsoft.com/office/drawing/2014/main" id="{FBE9F90C-C163-435B-9A68-D15C92D1CF2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733989" y="4521269"/>
            <a:ext cx="6720830" cy="1877811"/>
          </a:xfrm>
          <a:prstGeom prst="rect">
            <a:avLst/>
          </a:prstGeom>
          <a:solidFill>
            <a:srgbClr val="7F7F7F">
              <a:alpha val="20000"/>
            </a:srgb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0" name="Rectangle 12">
            <a:extLst>
              <a:ext uri="{FF2B5EF4-FFF2-40B4-BE49-F238E27FC236}">
                <a16:creationId xmlns:a16="http://schemas.microsoft.com/office/drawing/2014/main" id="{1A882A9F-F4E9-4E23-8F0B-20B5DF42EAA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619345" y="4521270"/>
            <a:ext cx="2115455" cy="1890204"/>
          </a:xfrm>
          <a:prstGeom prst="rect">
            <a:avLst/>
          </a:prstGeom>
          <a:solidFill>
            <a:srgbClr val="A5A5A5"/>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0433761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91F32EBA-ED97-466E-8CFA-8382584155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5DA6A50-7F70-43A1-A7D3-D0AE88FB55BA}"/>
              </a:ext>
            </a:extLst>
          </p:cNvPr>
          <p:cNvSpPr>
            <a:spLocks noGrp="1"/>
          </p:cNvSpPr>
          <p:nvPr>
            <p:ph type="title"/>
          </p:nvPr>
        </p:nvSpPr>
        <p:spPr>
          <a:xfrm>
            <a:off x="965199" y="851517"/>
            <a:ext cx="5130795" cy="1461778"/>
          </a:xfrm>
        </p:spPr>
        <p:txBody>
          <a:bodyPr>
            <a:normAutofit/>
          </a:bodyPr>
          <a:lstStyle/>
          <a:p>
            <a:r>
              <a:rPr lang="en-US" sz="4000" b="1" dirty="0"/>
              <a:t>Aims &amp; Objectives </a:t>
            </a:r>
            <a:endParaRPr lang="en-IN" sz="4000" b="1" dirty="0"/>
          </a:p>
        </p:txBody>
      </p:sp>
      <p:sp>
        <p:nvSpPr>
          <p:cNvPr id="3" name="Content Placeholder 2">
            <a:extLst>
              <a:ext uri="{FF2B5EF4-FFF2-40B4-BE49-F238E27FC236}">
                <a16:creationId xmlns:a16="http://schemas.microsoft.com/office/drawing/2014/main" id="{C106A866-B2B9-47ED-820B-6D75439930B0}"/>
              </a:ext>
            </a:extLst>
          </p:cNvPr>
          <p:cNvSpPr>
            <a:spLocks noGrp="1"/>
          </p:cNvSpPr>
          <p:nvPr>
            <p:ph idx="1"/>
          </p:nvPr>
        </p:nvSpPr>
        <p:spPr>
          <a:xfrm>
            <a:off x="894177" y="2212795"/>
            <a:ext cx="4378325" cy="3536235"/>
          </a:xfrm>
        </p:spPr>
        <p:txBody>
          <a:bodyPr>
            <a:normAutofit lnSpcReduction="10000"/>
          </a:bodyPr>
          <a:lstStyle/>
          <a:p>
            <a:r>
              <a:rPr lang="en-US" sz="3200" spc="-5" dirty="0">
                <a:latin typeface="Carlito"/>
                <a:cs typeface="Carlito"/>
              </a:rPr>
              <a:t>Design, </a:t>
            </a:r>
            <a:r>
              <a:rPr lang="en-US" sz="3200" spc="-10" dirty="0">
                <a:latin typeface="Carlito"/>
                <a:cs typeface="Carlito"/>
              </a:rPr>
              <a:t>develop </a:t>
            </a:r>
            <a:r>
              <a:rPr lang="en-US" sz="3200" dirty="0">
                <a:latin typeface="Carlito"/>
                <a:cs typeface="Carlito"/>
              </a:rPr>
              <a:t>and </a:t>
            </a:r>
            <a:r>
              <a:rPr lang="en-US" sz="3200" spc="-20" dirty="0">
                <a:latin typeface="Carlito"/>
                <a:cs typeface="Carlito"/>
              </a:rPr>
              <a:t>test </a:t>
            </a:r>
            <a:r>
              <a:rPr lang="en-US" sz="3200" spc="-5" dirty="0">
                <a:latin typeface="Carlito"/>
                <a:cs typeface="Carlito"/>
              </a:rPr>
              <a:t>high quality  </a:t>
            </a:r>
            <a:r>
              <a:rPr lang="en-US" sz="3200" spc="-10" dirty="0">
                <a:latin typeface="Carlito"/>
                <a:cs typeface="Carlito"/>
              </a:rPr>
              <a:t>software.</a:t>
            </a:r>
          </a:p>
          <a:p>
            <a:r>
              <a:rPr lang="en-US" sz="3200" spc="-15" dirty="0">
                <a:latin typeface="Carlito"/>
                <a:cs typeface="Carlito"/>
              </a:rPr>
              <a:t>Match customer  </a:t>
            </a:r>
            <a:r>
              <a:rPr lang="en-US" sz="3200" spc="-10" dirty="0">
                <a:latin typeface="Carlito"/>
                <a:cs typeface="Carlito"/>
              </a:rPr>
              <a:t>expectations.</a:t>
            </a:r>
          </a:p>
          <a:p>
            <a:r>
              <a:rPr lang="en-US" sz="3200" spc="-10" dirty="0">
                <a:latin typeface="Carlito"/>
                <a:cs typeface="Carlito"/>
              </a:rPr>
              <a:t>Reaches completion </a:t>
            </a:r>
            <a:r>
              <a:rPr lang="en-US" sz="3200" dirty="0">
                <a:latin typeface="Carlito"/>
                <a:cs typeface="Carlito"/>
              </a:rPr>
              <a:t>within time  and </a:t>
            </a:r>
            <a:r>
              <a:rPr lang="en-US" sz="3200" spc="-15" dirty="0">
                <a:latin typeface="Carlito"/>
                <a:cs typeface="Carlito"/>
              </a:rPr>
              <a:t>budget.</a:t>
            </a:r>
          </a:p>
          <a:p>
            <a:endParaRPr lang="en-IN" sz="2400" dirty="0"/>
          </a:p>
        </p:txBody>
      </p:sp>
      <p:sp>
        <p:nvSpPr>
          <p:cNvPr id="19" name="Freeform: Shape 18">
            <a:extLst>
              <a:ext uri="{FF2B5EF4-FFF2-40B4-BE49-F238E27FC236}">
                <a16:creationId xmlns:a16="http://schemas.microsoft.com/office/drawing/2014/main" id="{62A38935-BB53-4DF7-A56E-48DD25B685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10370" y="851518"/>
            <a:ext cx="6184806" cy="5154967"/>
          </a:xfrm>
          <a:custGeom>
            <a:avLst/>
            <a:gdLst>
              <a:gd name="connsiteX0" fmla="*/ 363179 w 6184806"/>
              <a:gd name="connsiteY0" fmla="*/ 3125191 h 5154967"/>
              <a:gd name="connsiteX1" fmla="*/ 898270 w 6184806"/>
              <a:gd name="connsiteY1" fmla="*/ 3125191 h 5154967"/>
              <a:gd name="connsiteX2" fmla="*/ 980326 w 6184806"/>
              <a:gd name="connsiteY2" fmla="*/ 3173551 h 5154967"/>
              <a:gd name="connsiteX3" fmla="*/ 1248448 w 6184806"/>
              <a:gd name="connsiteY3" fmla="*/ 3635277 h 5154967"/>
              <a:gd name="connsiteX4" fmla="*/ 1248448 w 6184806"/>
              <a:gd name="connsiteY4" fmla="*/ 3729695 h 5154967"/>
              <a:gd name="connsiteX5" fmla="*/ 980326 w 6184806"/>
              <a:gd name="connsiteY5" fmla="*/ 4191421 h 5154967"/>
              <a:gd name="connsiteX6" fmla="*/ 898270 w 6184806"/>
              <a:gd name="connsiteY6" fmla="*/ 4239781 h 5154967"/>
              <a:gd name="connsiteX7" fmla="*/ 363179 w 6184806"/>
              <a:gd name="connsiteY7" fmla="*/ 4239781 h 5154967"/>
              <a:gd name="connsiteX8" fmla="*/ 279969 w 6184806"/>
              <a:gd name="connsiteY8" fmla="*/ 4191421 h 5154967"/>
              <a:gd name="connsiteX9" fmla="*/ 13002 w 6184806"/>
              <a:gd name="connsiteY9" fmla="*/ 3729695 h 5154967"/>
              <a:gd name="connsiteX10" fmla="*/ 13002 w 6184806"/>
              <a:gd name="connsiteY10" fmla="*/ 3635277 h 5154967"/>
              <a:gd name="connsiteX11" fmla="*/ 279969 w 6184806"/>
              <a:gd name="connsiteY11" fmla="*/ 3173551 h 5154967"/>
              <a:gd name="connsiteX12" fmla="*/ 363179 w 6184806"/>
              <a:gd name="connsiteY12" fmla="*/ 3125191 h 5154967"/>
              <a:gd name="connsiteX13" fmla="*/ 2489721 w 6184806"/>
              <a:gd name="connsiteY13" fmla="*/ 570035 h 5154967"/>
              <a:gd name="connsiteX14" fmla="*/ 2764862 w 6184806"/>
              <a:gd name="connsiteY14" fmla="*/ 570035 h 5154967"/>
              <a:gd name="connsiteX15" fmla="*/ 2796959 w 6184806"/>
              <a:gd name="connsiteY15" fmla="*/ 570035 h 5154967"/>
              <a:gd name="connsiteX16" fmla="*/ 2827587 w 6184806"/>
              <a:gd name="connsiteY16" fmla="*/ 622777 h 5154967"/>
              <a:gd name="connsiteX17" fmla="*/ 2977604 w 6184806"/>
              <a:gd name="connsiteY17" fmla="*/ 881117 h 5154967"/>
              <a:gd name="connsiteX18" fmla="*/ 2977604 w 6184806"/>
              <a:gd name="connsiteY18" fmla="*/ 1025720 h 5154967"/>
              <a:gd name="connsiteX19" fmla="*/ 2566968 w 6184806"/>
              <a:gd name="connsiteY19" fmla="*/ 1732863 h 5154967"/>
              <a:gd name="connsiteX20" fmla="*/ 2441299 w 6184806"/>
              <a:gd name="connsiteY20" fmla="*/ 1806927 h 5154967"/>
              <a:gd name="connsiteX21" fmla="*/ 1621798 w 6184806"/>
              <a:gd name="connsiteY21" fmla="*/ 1806927 h 5154967"/>
              <a:gd name="connsiteX22" fmla="*/ 1583218 w 6184806"/>
              <a:gd name="connsiteY22" fmla="*/ 1801802 h 5154967"/>
              <a:gd name="connsiteX23" fmla="*/ 1556683 w 6184806"/>
              <a:gd name="connsiteY23" fmla="*/ 1790677 h 5154967"/>
              <a:gd name="connsiteX24" fmla="*/ 1572899 w 6184806"/>
              <a:gd name="connsiteY24" fmla="*/ 1762631 h 5154967"/>
              <a:gd name="connsiteX25" fmla="*/ 2147429 w 6184806"/>
              <a:gd name="connsiteY25" fmla="*/ 768968 h 5154967"/>
              <a:gd name="connsiteX26" fmla="*/ 2489721 w 6184806"/>
              <a:gd name="connsiteY26" fmla="*/ 570035 h 5154967"/>
              <a:gd name="connsiteX27" fmla="*/ 1573268 w 6184806"/>
              <a:gd name="connsiteY27" fmla="*/ 0 h 5154967"/>
              <a:gd name="connsiteX28" fmla="*/ 2497662 w 6184806"/>
              <a:gd name="connsiteY28" fmla="*/ 0 h 5154967"/>
              <a:gd name="connsiteX29" fmla="*/ 2639415 w 6184806"/>
              <a:gd name="connsiteY29" fmla="*/ 83546 h 5154967"/>
              <a:gd name="connsiteX30" fmla="*/ 2887862 w 6184806"/>
              <a:gd name="connsiteY30" fmla="*/ 511387 h 5154967"/>
              <a:gd name="connsiteX31" fmla="*/ 2915928 w 6184806"/>
              <a:gd name="connsiteY31" fmla="*/ 559720 h 5154967"/>
              <a:gd name="connsiteX32" fmla="*/ 2893844 w 6184806"/>
              <a:gd name="connsiteY32" fmla="*/ 559720 h 5154967"/>
              <a:gd name="connsiteX33" fmla="*/ 2789466 w 6184806"/>
              <a:gd name="connsiteY33" fmla="*/ 559720 h 5154967"/>
              <a:gd name="connsiteX34" fmla="*/ 2744122 w 6184806"/>
              <a:gd name="connsiteY34" fmla="*/ 481634 h 5154967"/>
              <a:gd name="connsiteX35" fmla="*/ 2570885 w 6184806"/>
              <a:gd name="connsiteY35" fmla="*/ 183309 h 5154967"/>
              <a:gd name="connsiteX36" fmla="*/ 2445216 w 6184806"/>
              <a:gd name="connsiteY36" fmla="*/ 109244 h 5154967"/>
              <a:gd name="connsiteX37" fmla="*/ 1625714 w 6184806"/>
              <a:gd name="connsiteY37" fmla="*/ 109244 h 5154967"/>
              <a:gd name="connsiteX38" fmla="*/ 1498276 w 6184806"/>
              <a:gd name="connsiteY38" fmla="*/ 183309 h 5154967"/>
              <a:gd name="connsiteX39" fmla="*/ 1089410 w 6184806"/>
              <a:gd name="connsiteY39" fmla="*/ 890450 h 5154967"/>
              <a:gd name="connsiteX40" fmla="*/ 1089410 w 6184806"/>
              <a:gd name="connsiteY40" fmla="*/ 1035054 h 5154967"/>
              <a:gd name="connsiteX41" fmla="*/ 1498276 w 6184806"/>
              <a:gd name="connsiteY41" fmla="*/ 1742196 h 5154967"/>
              <a:gd name="connsiteX42" fmla="*/ 1552039 w 6184806"/>
              <a:gd name="connsiteY42" fmla="*/ 1796421 h 5154967"/>
              <a:gd name="connsiteX43" fmla="*/ 1558260 w 6184806"/>
              <a:gd name="connsiteY43" fmla="*/ 1799029 h 5154967"/>
              <a:gd name="connsiteX44" fmla="*/ 1524911 w 6184806"/>
              <a:gd name="connsiteY44" fmla="*/ 1856707 h 5154967"/>
              <a:gd name="connsiteX45" fmla="*/ 1500108 w 6184806"/>
              <a:gd name="connsiteY45" fmla="*/ 1899604 h 5154967"/>
              <a:gd name="connsiteX46" fmla="*/ 1525834 w 6184806"/>
              <a:gd name="connsiteY46" fmla="*/ 1910390 h 5154967"/>
              <a:gd name="connsiteX47" fmla="*/ 1569352 w 6184806"/>
              <a:gd name="connsiteY47" fmla="*/ 1916170 h 5154967"/>
              <a:gd name="connsiteX48" fmla="*/ 2493745 w 6184806"/>
              <a:gd name="connsiteY48" fmla="*/ 1916170 h 5154967"/>
              <a:gd name="connsiteX49" fmla="*/ 2635498 w 6184806"/>
              <a:gd name="connsiteY49" fmla="*/ 1832627 h 5154967"/>
              <a:gd name="connsiteX50" fmla="*/ 3098693 w 6184806"/>
              <a:gd name="connsiteY50" fmla="*/ 1034974 h 5154967"/>
              <a:gd name="connsiteX51" fmla="*/ 3098693 w 6184806"/>
              <a:gd name="connsiteY51" fmla="*/ 871863 h 5154967"/>
              <a:gd name="connsiteX52" fmla="*/ 2945803 w 6184806"/>
              <a:gd name="connsiteY52" fmla="*/ 608576 h 5154967"/>
              <a:gd name="connsiteX53" fmla="*/ 2923422 w 6184806"/>
              <a:gd name="connsiteY53" fmla="*/ 570035 h 5154967"/>
              <a:gd name="connsiteX54" fmla="*/ 3027104 w 6184806"/>
              <a:gd name="connsiteY54" fmla="*/ 570035 h 5154967"/>
              <a:gd name="connsiteX55" fmla="*/ 4690846 w 6184806"/>
              <a:gd name="connsiteY55" fmla="*/ 570035 h 5154967"/>
              <a:gd name="connsiteX56" fmla="*/ 5028384 w 6184806"/>
              <a:gd name="connsiteY56" fmla="*/ 768968 h 5154967"/>
              <a:gd name="connsiteX57" fmla="*/ 6131323 w 6184806"/>
              <a:gd name="connsiteY57" fmla="*/ 2668304 h 5154967"/>
              <a:gd name="connsiteX58" fmla="*/ 6131323 w 6184806"/>
              <a:gd name="connsiteY58" fmla="*/ 3056698 h 5154967"/>
              <a:gd name="connsiteX59" fmla="*/ 5028384 w 6184806"/>
              <a:gd name="connsiteY59" fmla="*/ 4956035 h 5154967"/>
              <a:gd name="connsiteX60" fmla="*/ 4690846 w 6184806"/>
              <a:gd name="connsiteY60" fmla="*/ 5154967 h 5154967"/>
              <a:gd name="connsiteX61" fmla="*/ 2489721 w 6184806"/>
              <a:gd name="connsiteY61" fmla="*/ 5154967 h 5154967"/>
              <a:gd name="connsiteX62" fmla="*/ 2147429 w 6184806"/>
              <a:gd name="connsiteY62" fmla="*/ 4956035 h 5154967"/>
              <a:gd name="connsiteX63" fmla="*/ 1049243 w 6184806"/>
              <a:gd name="connsiteY63" fmla="*/ 3056698 h 5154967"/>
              <a:gd name="connsiteX64" fmla="*/ 1049243 w 6184806"/>
              <a:gd name="connsiteY64" fmla="*/ 2668304 h 5154967"/>
              <a:gd name="connsiteX65" fmla="*/ 1457007 w 6184806"/>
              <a:gd name="connsiteY65" fmla="*/ 1963067 h 5154967"/>
              <a:gd name="connsiteX66" fmla="*/ 1491373 w 6184806"/>
              <a:gd name="connsiteY66" fmla="*/ 1903634 h 5154967"/>
              <a:gd name="connsiteX67" fmla="*/ 1490164 w 6184806"/>
              <a:gd name="connsiteY67" fmla="*/ 1903127 h 5154967"/>
              <a:gd name="connsiteX68" fmla="*/ 1429519 w 6184806"/>
              <a:gd name="connsiteY68" fmla="*/ 1841960 h 5154967"/>
              <a:gd name="connsiteX69" fmla="*/ 968320 w 6184806"/>
              <a:gd name="connsiteY69" fmla="*/ 1044307 h 5154967"/>
              <a:gd name="connsiteX70" fmla="*/ 968320 w 6184806"/>
              <a:gd name="connsiteY70" fmla="*/ 881196 h 5154967"/>
              <a:gd name="connsiteX71" fmla="*/ 1429519 w 6184806"/>
              <a:gd name="connsiteY71" fmla="*/ 83546 h 5154967"/>
              <a:gd name="connsiteX72" fmla="*/ 1573268 w 6184806"/>
              <a:gd name="connsiteY72" fmla="*/ 0 h 515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184806" h="5154967">
                <a:moveTo>
                  <a:pt x="363179" y="3125191"/>
                </a:moveTo>
                <a:cubicBezTo>
                  <a:pt x="363179" y="3125191"/>
                  <a:pt x="363179" y="3125191"/>
                  <a:pt x="898270" y="3125191"/>
                </a:cubicBezTo>
                <a:cubicBezTo>
                  <a:pt x="931786" y="3125191"/>
                  <a:pt x="964145" y="3143614"/>
                  <a:pt x="980326" y="3173551"/>
                </a:cubicBezTo>
                <a:cubicBezTo>
                  <a:pt x="980326" y="3173551"/>
                  <a:pt x="980326" y="3173551"/>
                  <a:pt x="1248448" y="3635277"/>
                </a:cubicBezTo>
                <a:cubicBezTo>
                  <a:pt x="1265784" y="3664063"/>
                  <a:pt x="1265784" y="3700909"/>
                  <a:pt x="1248448" y="3729695"/>
                </a:cubicBezTo>
                <a:cubicBezTo>
                  <a:pt x="1248448" y="3729695"/>
                  <a:pt x="1248448" y="3729695"/>
                  <a:pt x="980326" y="4191421"/>
                </a:cubicBezTo>
                <a:cubicBezTo>
                  <a:pt x="964145" y="4221358"/>
                  <a:pt x="931786" y="4239781"/>
                  <a:pt x="898270" y="4239781"/>
                </a:cubicBezTo>
                <a:cubicBezTo>
                  <a:pt x="898270" y="4239781"/>
                  <a:pt x="898270" y="4239781"/>
                  <a:pt x="363179" y="4239781"/>
                </a:cubicBezTo>
                <a:cubicBezTo>
                  <a:pt x="328508" y="4239781"/>
                  <a:pt x="297305" y="4221358"/>
                  <a:pt x="279969" y="4191421"/>
                </a:cubicBezTo>
                <a:cubicBezTo>
                  <a:pt x="279969" y="4191421"/>
                  <a:pt x="279969" y="4191421"/>
                  <a:pt x="13002" y="3729695"/>
                </a:cubicBezTo>
                <a:cubicBezTo>
                  <a:pt x="-4334" y="3700909"/>
                  <a:pt x="-4334" y="3664063"/>
                  <a:pt x="13002" y="3635277"/>
                </a:cubicBezTo>
                <a:cubicBezTo>
                  <a:pt x="13002" y="3635277"/>
                  <a:pt x="13002" y="3635277"/>
                  <a:pt x="279969" y="3173551"/>
                </a:cubicBezTo>
                <a:cubicBezTo>
                  <a:pt x="297305" y="3143614"/>
                  <a:pt x="328508" y="3125191"/>
                  <a:pt x="363179" y="3125191"/>
                </a:cubicBezTo>
                <a:close/>
                <a:moveTo>
                  <a:pt x="2489721" y="570035"/>
                </a:moveTo>
                <a:cubicBezTo>
                  <a:pt x="2489721" y="570035"/>
                  <a:pt x="2489721" y="570035"/>
                  <a:pt x="2764862" y="570035"/>
                </a:cubicBezTo>
                <a:lnTo>
                  <a:pt x="2796959" y="570035"/>
                </a:lnTo>
                <a:lnTo>
                  <a:pt x="2827587" y="622777"/>
                </a:lnTo>
                <a:cubicBezTo>
                  <a:pt x="2870233" y="696217"/>
                  <a:pt x="2919858" y="781675"/>
                  <a:pt x="2977604" y="881117"/>
                </a:cubicBezTo>
                <a:cubicBezTo>
                  <a:pt x="3004153" y="925204"/>
                  <a:pt x="3004153" y="981634"/>
                  <a:pt x="2977604" y="1025720"/>
                </a:cubicBezTo>
                <a:cubicBezTo>
                  <a:pt x="2977604" y="1025720"/>
                  <a:pt x="2977604" y="1025720"/>
                  <a:pt x="2566968" y="1732863"/>
                </a:cubicBezTo>
                <a:cubicBezTo>
                  <a:pt x="2542188" y="1778712"/>
                  <a:pt x="2492629" y="1806927"/>
                  <a:pt x="2441299" y="1806927"/>
                </a:cubicBezTo>
                <a:cubicBezTo>
                  <a:pt x="2441299" y="1806927"/>
                  <a:pt x="2441299" y="1806927"/>
                  <a:pt x="1621798" y="1806927"/>
                </a:cubicBezTo>
                <a:cubicBezTo>
                  <a:pt x="1608523" y="1806927"/>
                  <a:pt x="1595580" y="1805163"/>
                  <a:pt x="1583218" y="1801802"/>
                </a:cubicBezTo>
                <a:lnTo>
                  <a:pt x="1556683" y="1790677"/>
                </a:lnTo>
                <a:lnTo>
                  <a:pt x="1572899" y="1762631"/>
                </a:lnTo>
                <a:cubicBezTo>
                  <a:pt x="1719523" y="1509042"/>
                  <a:pt x="1907201" y="1184448"/>
                  <a:pt x="2147429" y="768968"/>
                </a:cubicBezTo>
                <a:cubicBezTo>
                  <a:pt x="2218739" y="645819"/>
                  <a:pt x="2347099" y="570035"/>
                  <a:pt x="2489721" y="570035"/>
                </a:cubicBezTo>
                <a:close/>
                <a:moveTo>
                  <a:pt x="1573268" y="0"/>
                </a:moveTo>
                <a:cubicBezTo>
                  <a:pt x="1573268" y="0"/>
                  <a:pt x="1573268" y="0"/>
                  <a:pt x="2497662" y="0"/>
                </a:cubicBezTo>
                <a:cubicBezTo>
                  <a:pt x="2555561" y="0"/>
                  <a:pt x="2611463" y="31828"/>
                  <a:pt x="2639415" y="83546"/>
                </a:cubicBezTo>
                <a:cubicBezTo>
                  <a:pt x="2639415" y="83546"/>
                  <a:pt x="2639415" y="83546"/>
                  <a:pt x="2887862" y="511387"/>
                </a:cubicBezTo>
                <a:lnTo>
                  <a:pt x="2915928" y="559720"/>
                </a:lnTo>
                <a:lnTo>
                  <a:pt x="2893844" y="559720"/>
                </a:lnTo>
                <a:lnTo>
                  <a:pt x="2789466" y="559720"/>
                </a:lnTo>
                <a:lnTo>
                  <a:pt x="2744122" y="481634"/>
                </a:lnTo>
                <a:cubicBezTo>
                  <a:pt x="2570885" y="183309"/>
                  <a:pt x="2570885" y="183309"/>
                  <a:pt x="2570885" y="183309"/>
                </a:cubicBezTo>
                <a:cubicBezTo>
                  <a:pt x="2546104" y="137459"/>
                  <a:pt x="2496545" y="109244"/>
                  <a:pt x="2445216" y="109244"/>
                </a:cubicBezTo>
                <a:cubicBezTo>
                  <a:pt x="1625714" y="109244"/>
                  <a:pt x="1625714" y="109244"/>
                  <a:pt x="1625714" y="109244"/>
                </a:cubicBezTo>
                <a:cubicBezTo>
                  <a:pt x="1572615" y="109244"/>
                  <a:pt x="1524825" y="137459"/>
                  <a:pt x="1498276" y="183309"/>
                </a:cubicBezTo>
                <a:cubicBezTo>
                  <a:pt x="1089410" y="890450"/>
                  <a:pt x="1089410" y="890450"/>
                  <a:pt x="1089410" y="890450"/>
                </a:cubicBezTo>
                <a:cubicBezTo>
                  <a:pt x="1062860" y="934537"/>
                  <a:pt x="1062860" y="990968"/>
                  <a:pt x="1089410" y="1035054"/>
                </a:cubicBezTo>
                <a:cubicBezTo>
                  <a:pt x="1498276" y="1742196"/>
                  <a:pt x="1498276" y="1742196"/>
                  <a:pt x="1498276" y="1742196"/>
                </a:cubicBezTo>
                <a:cubicBezTo>
                  <a:pt x="1511551" y="1765121"/>
                  <a:pt x="1530135" y="1783637"/>
                  <a:pt x="1552039" y="1796421"/>
                </a:cubicBezTo>
                <a:lnTo>
                  <a:pt x="1558260" y="1799029"/>
                </a:lnTo>
                <a:lnTo>
                  <a:pt x="1524911" y="1856707"/>
                </a:lnTo>
                <a:lnTo>
                  <a:pt x="1500108" y="1899604"/>
                </a:lnTo>
                <a:lnTo>
                  <a:pt x="1525834" y="1910390"/>
                </a:lnTo>
                <a:cubicBezTo>
                  <a:pt x="1539779" y="1914181"/>
                  <a:pt x="1554378" y="1916170"/>
                  <a:pt x="1569352" y="1916170"/>
                </a:cubicBezTo>
                <a:cubicBezTo>
                  <a:pt x="2493745" y="1916170"/>
                  <a:pt x="2493745" y="1916170"/>
                  <a:pt x="2493745" y="1916170"/>
                </a:cubicBezTo>
                <a:cubicBezTo>
                  <a:pt x="2551645" y="1916170"/>
                  <a:pt x="2607546" y="1884345"/>
                  <a:pt x="2635498" y="1832627"/>
                </a:cubicBezTo>
                <a:cubicBezTo>
                  <a:pt x="3098693" y="1034974"/>
                  <a:pt x="3098693" y="1034974"/>
                  <a:pt x="3098693" y="1034974"/>
                </a:cubicBezTo>
                <a:cubicBezTo>
                  <a:pt x="3128641" y="985246"/>
                  <a:pt x="3128641" y="921593"/>
                  <a:pt x="3098693" y="871863"/>
                </a:cubicBezTo>
                <a:cubicBezTo>
                  <a:pt x="3040794" y="772157"/>
                  <a:pt x="2990132" y="684914"/>
                  <a:pt x="2945803" y="608576"/>
                </a:cubicBezTo>
                <a:lnTo>
                  <a:pt x="2923422" y="570035"/>
                </a:lnTo>
                <a:lnTo>
                  <a:pt x="3027104" y="570035"/>
                </a:lnTo>
                <a:cubicBezTo>
                  <a:pt x="3349535" y="570035"/>
                  <a:pt x="3865424" y="570035"/>
                  <a:pt x="4690846" y="570035"/>
                </a:cubicBezTo>
                <a:cubicBezTo>
                  <a:pt x="4828714" y="570035"/>
                  <a:pt x="4961827" y="645819"/>
                  <a:pt x="5028384" y="768968"/>
                </a:cubicBezTo>
                <a:cubicBezTo>
                  <a:pt x="5028384" y="768968"/>
                  <a:pt x="5028384" y="768968"/>
                  <a:pt x="6131323" y="2668304"/>
                </a:cubicBezTo>
                <a:cubicBezTo>
                  <a:pt x="6202634" y="2786717"/>
                  <a:pt x="6202634" y="2938285"/>
                  <a:pt x="6131323" y="3056698"/>
                </a:cubicBezTo>
                <a:cubicBezTo>
                  <a:pt x="6131323" y="3056698"/>
                  <a:pt x="6131323" y="3056698"/>
                  <a:pt x="5028384" y="4956035"/>
                </a:cubicBezTo>
                <a:cubicBezTo>
                  <a:pt x="4961827" y="5079184"/>
                  <a:pt x="4828714" y="5154967"/>
                  <a:pt x="4690846" y="5154967"/>
                </a:cubicBezTo>
                <a:cubicBezTo>
                  <a:pt x="4690846" y="5154967"/>
                  <a:pt x="4690846" y="5154967"/>
                  <a:pt x="2489721" y="5154967"/>
                </a:cubicBezTo>
                <a:cubicBezTo>
                  <a:pt x="2347099" y="5154967"/>
                  <a:pt x="2218739" y="5079184"/>
                  <a:pt x="2147429" y="4956035"/>
                </a:cubicBezTo>
                <a:cubicBezTo>
                  <a:pt x="2147429" y="4956035"/>
                  <a:pt x="2147429" y="4956035"/>
                  <a:pt x="1049243" y="3056698"/>
                </a:cubicBezTo>
                <a:cubicBezTo>
                  <a:pt x="977932" y="2938285"/>
                  <a:pt x="977932" y="2786717"/>
                  <a:pt x="1049243" y="2668304"/>
                </a:cubicBezTo>
                <a:cubicBezTo>
                  <a:pt x="1049243" y="2668304"/>
                  <a:pt x="1049243" y="2668304"/>
                  <a:pt x="1457007" y="1963067"/>
                </a:cubicBezTo>
                <a:lnTo>
                  <a:pt x="1491373" y="1903634"/>
                </a:lnTo>
                <a:lnTo>
                  <a:pt x="1490164" y="1903127"/>
                </a:lnTo>
                <a:cubicBezTo>
                  <a:pt x="1465456" y="1888705"/>
                  <a:pt x="1444493" y="1867820"/>
                  <a:pt x="1429519" y="1841960"/>
                </a:cubicBezTo>
                <a:cubicBezTo>
                  <a:pt x="1429519" y="1841960"/>
                  <a:pt x="1429519" y="1841960"/>
                  <a:pt x="968320" y="1044307"/>
                </a:cubicBezTo>
                <a:cubicBezTo>
                  <a:pt x="938371" y="994579"/>
                  <a:pt x="938371" y="930926"/>
                  <a:pt x="968320" y="881196"/>
                </a:cubicBezTo>
                <a:cubicBezTo>
                  <a:pt x="968320" y="881196"/>
                  <a:pt x="968320" y="881196"/>
                  <a:pt x="1429519" y="83546"/>
                </a:cubicBezTo>
                <a:cubicBezTo>
                  <a:pt x="1459466" y="31828"/>
                  <a:pt x="1513373" y="0"/>
                  <a:pt x="1573268" y="0"/>
                </a:cubicBezTo>
                <a:close/>
              </a:path>
            </a:pathLst>
          </a:custGeom>
          <a:solidFill>
            <a:schemeClr val="tx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7" name="Graphic 6" descr="Bullseye">
            <a:extLst>
              <a:ext uri="{FF2B5EF4-FFF2-40B4-BE49-F238E27FC236}">
                <a16:creationId xmlns:a16="http://schemas.microsoft.com/office/drawing/2014/main" id="{2D501197-5138-4460-86A2-5266837472A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35330" y="2105470"/>
            <a:ext cx="3217333" cy="3217333"/>
          </a:xfrm>
          <a:prstGeom prst="rect">
            <a:avLst/>
          </a:prstGeom>
        </p:spPr>
      </p:pic>
    </p:spTree>
    <p:extLst>
      <p:ext uri="{BB962C8B-B14F-4D97-AF65-F5344CB8AC3E}">
        <p14:creationId xmlns:p14="http://schemas.microsoft.com/office/powerpoint/2010/main" val="9006530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5"/>
        <p:cNvGrpSpPr/>
        <p:nvPr/>
      </p:nvGrpSpPr>
      <p:grpSpPr>
        <a:xfrm>
          <a:off x="0" y="0"/>
          <a:ext cx="0" cy="0"/>
          <a:chOff x="0" y="0"/>
          <a:chExt cx="0" cy="0"/>
        </a:xfrm>
      </p:grpSpPr>
      <p:sp>
        <p:nvSpPr>
          <p:cNvPr id="116" name="Google Shape;116;p22"/>
          <p:cNvSpPr/>
          <p:nvPr/>
        </p:nvSpPr>
        <p:spPr>
          <a:xfrm>
            <a:off x="4966600" y="1782534"/>
            <a:ext cx="2265600" cy="693967"/>
          </a:xfrm>
          <a:custGeom>
            <a:avLst/>
            <a:gdLst/>
            <a:ahLst/>
            <a:cxnLst/>
            <a:rect l="l" t="t" r="r" b="b"/>
            <a:pathLst>
              <a:path w="67968" h="20819" extrusionOk="0">
                <a:moveTo>
                  <a:pt x="0" y="0"/>
                </a:moveTo>
                <a:cubicBezTo>
                  <a:pt x="7003" y="11664"/>
                  <a:pt x="21502" y="20819"/>
                  <a:pt x="35107" y="20819"/>
                </a:cubicBezTo>
                <a:cubicBezTo>
                  <a:pt x="48074" y="20819"/>
                  <a:pt x="60194" y="10378"/>
                  <a:pt x="67968" y="0"/>
                </a:cubicBezTo>
              </a:path>
            </a:pathLst>
          </a:custGeom>
          <a:noFill/>
          <a:ln w="19050" cap="flat" cmpd="sng">
            <a:solidFill>
              <a:schemeClr val="dk2"/>
            </a:solidFill>
            <a:prstDash val="solid"/>
            <a:round/>
            <a:headEnd type="none" w="med" len="med"/>
            <a:tailEnd type="none" w="med" len="med"/>
          </a:ln>
        </p:spPr>
      </p:sp>
      <p:sp>
        <p:nvSpPr>
          <p:cNvPr id="117" name="Google Shape;117;p22"/>
          <p:cNvSpPr txBox="1">
            <a:spLocks noGrp="1"/>
          </p:cNvSpPr>
          <p:nvPr>
            <p:ph type="title"/>
          </p:nvPr>
        </p:nvSpPr>
        <p:spPr>
          <a:xfrm>
            <a:off x="3809985" y="715533"/>
            <a:ext cx="4572000" cy="641600"/>
          </a:xfrm>
          <a:prstGeom prst="rect">
            <a:avLst/>
          </a:prstGeom>
        </p:spPr>
        <p:txBody>
          <a:bodyPr spcFirstLastPara="1" vert="horz" wrap="square" lIns="121900" tIns="121900" rIns="121900" bIns="121900" rtlCol="0" anchor="ctr" anchorCtr="0">
            <a:noAutofit/>
          </a:bodyPr>
          <a:lstStyle/>
          <a:p>
            <a:pPr algn="ctr">
              <a:spcBef>
                <a:spcPts val="0"/>
              </a:spcBef>
              <a:buClr>
                <a:schemeClr val="dk1"/>
              </a:buClr>
              <a:buSzPts val="1100"/>
            </a:pPr>
            <a:r>
              <a:rPr lang="es" b="1" dirty="0"/>
              <a:t>SDLC Phases</a:t>
            </a:r>
            <a:endParaRPr b="1" dirty="0"/>
          </a:p>
        </p:txBody>
      </p:sp>
      <p:cxnSp>
        <p:nvCxnSpPr>
          <p:cNvPr id="118" name="Google Shape;118;p22"/>
          <p:cNvCxnSpPr/>
          <p:nvPr/>
        </p:nvCxnSpPr>
        <p:spPr>
          <a:xfrm flipH="1">
            <a:off x="1564967" y="1809767"/>
            <a:ext cx="3347200" cy="974800"/>
          </a:xfrm>
          <a:prstGeom prst="straightConnector1">
            <a:avLst/>
          </a:prstGeom>
          <a:noFill/>
          <a:ln w="19050" cap="flat" cmpd="sng">
            <a:solidFill>
              <a:schemeClr val="dk2"/>
            </a:solidFill>
            <a:prstDash val="solid"/>
            <a:round/>
            <a:headEnd type="none" w="med" len="med"/>
            <a:tailEnd type="none" w="med" len="med"/>
          </a:ln>
        </p:spPr>
      </p:cxnSp>
      <p:cxnSp>
        <p:nvCxnSpPr>
          <p:cNvPr id="119" name="Google Shape;119;p22"/>
          <p:cNvCxnSpPr/>
          <p:nvPr/>
        </p:nvCxnSpPr>
        <p:spPr>
          <a:xfrm>
            <a:off x="1565956" y="2775867"/>
            <a:ext cx="0" cy="694000"/>
          </a:xfrm>
          <a:prstGeom prst="straightConnector1">
            <a:avLst/>
          </a:prstGeom>
          <a:noFill/>
          <a:ln w="19050" cap="flat" cmpd="sng">
            <a:solidFill>
              <a:schemeClr val="dk2"/>
            </a:solidFill>
            <a:prstDash val="solid"/>
            <a:round/>
            <a:headEnd type="none" w="med" len="med"/>
            <a:tailEnd type="none" w="med" len="med"/>
          </a:ln>
        </p:spPr>
      </p:cxnSp>
      <p:cxnSp>
        <p:nvCxnSpPr>
          <p:cNvPr id="120" name="Google Shape;120;p22"/>
          <p:cNvCxnSpPr/>
          <p:nvPr/>
        </p:nvCxnSpPr>
        <p:spPr>
          <a:xfrm flipH="1">
            <a:off x="3810033" y="2313200"/>
            <a:ext cx="1605600" cy="471200"/>
          </a:xfrm>
          <a:prstGeom prst="straightConnector1">
            <a:avLst/>
          </a:prstGeom>
          <a:noFill/>
          <a:ln w="19050" cap="flat" cmpd="sng">
            <a:solidFill>
              <a:schemeClr val="dk2"/>
            </a:solidFill>
            <a:prstDash val="solid"/>
            <a:round/>
            <a:headEnd type="none" w="med" len="med"/>
            <a:tailEnd type="none" w="med" len="med"/>
          </a:ln>
        </p:spPr>
      </p:cxnSp>
      <p:cxnSp>
        <p:nvCxnSpPr>
          <p:cNvPr id="121" name="Google Shape;121;p22"/>
          <p:cNvCxnSpPr/>
          <p:nvPr/>
        </p:nvCxnSpPr>
        <p:spPr>
          <a:xfrm>
            <a:off x="3810989" y="2775867"/>
            <a:ext cx="0" cy="694000"/>
          </a:xfrm>
          <a:prstGeom prst="straightConnector1">
            <a:avLst/>
          </a:prstGeom>
          <a:noFill/>
          <a:ln w="19050" cap="flat" cmpd="sng">
            <a:solidFill>
              <a:schemeClr val="dk2"/>
            </a:solidFill>
            <a:prstDash val="solid"/>
            <a:round/>
            <a:headEnd type="none" w="med" len="med"/>
            <a:tailEnd type="none" w="med" len="med"/>
          </a:ln>
        </p:spPr>
      </p:cxnSp>
      <p:cxnSp>
        <p:nvCxnSpPr>
          <p:cNvPr id="122" name="Google Shape;122;p22"/>
          <p:cNvCxnSpPr/>
          <p:nvPr/>
        </p:nvCxnSpPr>
        <p:spPr>
          <a:xfrm>
            <a:off x="6096667" y="2503700"/>
            <a:ext cx="0" cy="966000"/>
          </a:xfrm>
          <a:prstGeom prst="straightConnector1">
            <a:avLst/>
          </a:prstGeom>
          <a:noFill/>
          <a:ln w="19050" cap="flat" cmpd="sng">
            <a:solidFill>
              <a:schemeClr val="dk2"/>
            </a:solidFill>
            <a:prstDash val="solid"/>
            <a:round/>
            <a:headEnd type="none" w="med" len="med"/>
            <a:tailEnd type="none" w="med" len="med"/>
          </a:ln>
        </p:spPr>
      </p:cxnSp>
      <p:cxnSp>
        <p:nvCxnSpPr>
          <p:cNvPr id="123" name="Google Shape;123;p22"/>
          <p:cNvCxnSpPr/>
          <p:nvPr/>
        </p:nvCxnSpPr>
        <p:spPr>
          <a:xfrm>
            <a:off x="7295400" y="1809767"/>
            <a:ext cx="3347200" cy="974800"/>
          </a:xfrm>
          <a:prstGeom prst="straightConnector1">
            <a:avLst/>
          </a:prstGeom>
          <a:noFill/>
          <a:ln w="19050" cap="flat" cmpd="sng">
            <a:solidFill>
              <a:schemeClr val="dk2"/>
            </a:solidFill>
            <a:prstDash val="solid"/>
            <a:round/>
            <a:headEnd type="none" w="med" len="med"/>
            <a:tailEnd type="none" w="med" len="med"/>
          </a:ln>
        </p:spPr>
      </p:cxnSp>
      <p:cxnSp>
        <p:nvCxnSpPr>
          <p:cNvPr id="124" name="Google Shape;124;p22"/>
          <p:cNvCxnSpPr/>
          <p:nvPr/>
        </p:nvCxnSpPr>
        <p:spPr>
          <a:xfrm>
            <a:off x="10641611" y="2775867"/>
            <a:ext cx="0" cy="694000"/>
          </a:xfrm>
          <a:prstGeom prst="straightConnector1">
            <a:avLst/>
          </a:prstGeom>
          <a:noFill/>
          <a:ln w="19050" cap="flat" cmpd="sng">
            <a:solidFill>
              <a:schemeClr val="dk2"/>
            </a:solidFill>
            <a:prstDash val="solid"/>
            <a:round/>
            <a:headEnd type="none" w="med" len="med"/>
            <a:tailEnd type="none" w="med" len="med"/>
          </a:ln>
        </p:spPr>
      </p:cxnSp>
      <p:cxnSp>
        <p:nvCxnSpPr>
          <p:cNvPr id="125" name="Google Shape;125;p22"/>
          <p:cNvCxnSpPr/>
          <p:nvPr/>
        </p:nvCxnSpPr>
        <p:spPr>
          <a:xfrm>
            <a:off x="6776884" y="2313200"/>
            <a:ext cx="1605600" cy="471200"/>
          </a:xfrm>
          <a:prstGeom prst="straightConnector1">
            <a:avLst/>
          </a:prstGeom>
          <a:noFill/>
          <a:ln w="19050" cap="flat" cmpd="sng">
            <a:solidFill>
              <a:schemeClr val="dk2"/>
            </a:solidFill>
            <a:prstDash val="solid"/>
            <a:round/>
            <a:headEnd type="none" w="med" len="med"/>
            <a:tailEnd type="none" w="med" len="med"/>
          </a:ln>
        </p:spPr>
      </p:cxnSp>
      <p:cxnSp>
        <p:nvCxnSpPr>
          <p:cNvPr id="126" name="Google Shape;126;p22"/>
          <p:cNvCxnSpPr/>
          <p:nvPr/>
        </p:nvCxnSpPr>
        <p:spPr>
          <a:xfrm>
            <a:off x="8381528" y="2775867"/>
            <a:ext cx="0" cy="694000"/>
          </a:xfrm>
          <a:prstGeom prst="straightConnector1">
            <a:avLst/>
          </a:prstGeom>
          <a:noFill/>
          <a:ln w="19050" cap="flat" cmpd="sng">
            <a:solidFill>
              <a:schemeClr val="dk2"/>
            </a:solidFill>
            <a:prstDash val="solid"/>
            <a:round/>
            <a:headEnd type="none" w="med" len="med"/>
            <a:tailEnd type="none" w="med" len="med"/>
          </a:ln>
        </p:spPr>
      </p:cxnSp>
      <p:sp>
        <p:nvSpPr>
          <p:cNvPr id="127" name="Google Shape;127;p22"/>
          <p:cNvSpPr/>
          <p:nvPr/>
        </p:nvSpPr>
        <p:spPr>
          <a:xfrm>
            <a:off x="5970442" y="2321883"/>
            <a:ext cx="251116" cy="251719"/>
          </a:xfrm>
          <a:custGeom>
            <a:avLst/>
            <a:gdLst/>
            <a:ahLst/>
            <a:cxnLst/>
            <a:rect l="l" t="t" r="r" b="b"/>
            <a:pathLst>
              <a:path w="2499" h="2505" extrusionOk="0">
                <a:moveTo>
                  <a:pt x="1249" y="1"/>
                </a:moveTo>
                <a:cubicBezTo>
                  <a:pt x="556" y="1"/>
                  <a:pt x="0" y="562"/>
                  <a:pt x="0" y="1256"/>
                </a:cubicBezTo>
                <a:cubicBezTo>
                  <a:pt x="0" y="1944"/>
                  <a:pt x="556" y="2505"/>
                  <a:pt x="1249" y="2505"/>
                </a:cubicBezTo>
                <a:cubicBezTo>
                  <a:pt x="1937" y="2505"/>
                  <a:pt x="2499" y="1944"/>
                  <a:pt x="2499" y="1256"/>
                </a:cubicBezTo>
                <a:cubicBezTo>
                  <a:pt x="2499" y="562"/>
                  <a:pt x="1937" y="1"/>
                  <a:pt x="1249" y="1"/>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128" name="Google Shape;128;p22"/>
          <p:cNvSpPr/>
          <p:nvPr/>
        </p:nvSpPr>
        <p:spPr>
          <a:xfrm>
            <a:off x="6615249" y="2143421"/>
            <a:ext cx="286488" cy="251417"/>
          </a:xfrm>
          <a:custGeom>
            <a:avLst/>
            <a:gdLst/>
            <a:ahLst/>
            <a:cxnLst/>
            <a:rect l="l" t="t" r="r" b="b"/>
            <a:pathLst>
              <a:path w="2851" h="2502" extrusionOk="0">
                <a:moveTo>
                  <a:pt x="1423" y="1"/>
                </a:moveTo>
                <a:cubicBezTo>
                  <a:pt x="1210" y="1"/>
                  <a:pt x="995" y="55"/>
                  <a:pt x="798" y="170"/>
                </a:cubicBezTo>
                <a:cubicBezTo>
                  <a:pt x="198" y="517"/>
                  <a:pt x="0" y="1281"/>
                  <a:pt x="347" y="1881"/>
                </a:cubicBezTo>
                <a:cubicBezTo>
                  <a:pt x="579" y="2279"/>
                  <a:pt x="998" y="2502"/>
                  <a:pt x="1428" y="2502"/>
                </a:cubicBezTo>
                <a:cubicBezTo>
                  <a:pt x="1641" y="2502"/>
                  <a:pt x="1856" y="2447"/>
                  <a:pt x="2053" y="2333"/>
                </a:cubicBezTo>
                <a:cubicBezTo>
                  <a:pt x="2653" y="1986"/>
                  <a:pt x="2851" y="1221"/>
                  <a:pt x="2504" y="621"/>
                </a:cubicBezTo>
                <a:cubicBezTo>
                  <a:pt x="2272" y="223"/>
                  <a:pt x="1853" y="1"/>
                  <a:pt x="1423"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129" name="Google Shape;129;p22"/>
          <p:cNvSpPr/>
          <p:nvPr/>
        </p:nvSpPr>
        <p:spPr>
          <a:xfrm>
            <a:off x="7097977" y="1655664"/>
            <a:ext cx="287191" cy="251417"/>
          </a:xfrm>
          <a:custGeom>
            <a:avLst/>
            <a:gdLst/>
            <a:ahLst/>
            <a:cxnLst/>
            <a:rect l="l" t="t" r="r" b="b"/>
            <a:pathLst>
              <a:path w="2858" h="2502" extrusionOk="0">
                <a:moveTo>
                  <a:pt x="1430" y="0"/>
                </a:moveTo>
                <a:cubicBezTo>
                  <a:pt x="995" y="0"/>
                  <a:pt x="572" y="227"/>
                  <a:pt x="342" y="632"/>
                </a:cubicBezTo>
                <a:cubicBezTo>
                  <a:pt x="1" y="1232"/>
                  <a:pt x="210" y="1997"/>
                  <a:pt x="810" y="2338"/>
                </a:cubicBezTo>
                <a:cubicBezTo>
                  <a:pt x="1005" y="2449"/>
                  <a:pt x="1218" y="2502"/>
                  <a:pt x="1427" y="2502"/>
                </a:cubicBezTo>
                <a:cubicBezTo>
                  <a:pt x="1863" y="2502"/>
                  <a:pt x="2286" y="2275"/>
                  <a:pt x="2516" y="1870"/>
                </a:cubicBezTo>
                <a:cubicBezTo>
                  <a:pt x="2857" y="1270"/>
                  <a:pt x="2648" y="505"/>
                  <a:pt x="2048" y="164"/>
                </a:cubicBezTo>
                <a:cubicBezTo>
                  <a:pt x="1853" y="53"/>
                  <a:pt x="1640" y="0"/>
                  <a:pt x="1430" y="0"/>
                </a:cubicBezTo>
                <a:close/>
              </a:path>
            </a:pathLst>
          </a:custGeom>
          <a:solidFill>
            <a:srgbClr val="01EDAF"/>
          </a:solidFill>
          <a:ln>
            <a:noFill/>
          </a:ln>
        </p:spPr>
        <p:txBody>
          <a:bodyPr spcFirstLastPara="1" wrap="square" lIns="121900" tIns="121900" rIns="121900" bIns="121900" anchor="ctr" anchorCtr="0">
            <a:noAutofit/>
          </a:bodyPr>
          <a:lstStyle/>
          <a:p>
            <a:endParaRPr sz="2400"/>
          </a:p>
        </p:txBody>
      </p:sp>
      <p:sp>
        <p:nvSpPr>
          <p:cNvPr id="130" name="Google Shape;130;p22"/>
          <p:cNvSpPr/>
          <p:nvPr/>
        </p:nvSpPr>
        <p:spPr>
          <a:xfrm>
            <a:off x="5289660" y="2143421"/>
            <a:ext cx="287091" cy="251417"/>
          </a:xfrm>
          <a:custGeom>
            <a:avLst/>
            <a:gdLst/>
            <a:ahLst/>
            <a:cxnLst/>
            <a:rect l="l" t="t" r="r" b="b"/>
            <a:pathLst>
              <a:path w="2857" h="2502" extrusionOk="0">
                <a:moveTo>
                  <a:pt x="1430" y="1"/>
                </a:moveTo>
                <a:cubicBezTo>
                  <a:pt x="998" y="1"/>
                  <a:pt x="579" y="223"/>
                  <a:pt x="347" y="621"/>
                </a:cubicBezTo>
                <a:cubicBezTo>
                  <a:pt x="0" y="1221"/>
                  <a:pt x="204" y="1986"/>
                  <a:pt x="798" y="2333"/>
                </a:cubicBezTo>
                <a:cubicBezTo>
                  <a:pt x="997" y="2447"/>
                  <a:pt x="1213" y="2502"/>
                  <a:pt x="1427" y="2502"/>
                </a:cubicBezTo>
                <a:cubicBezTo>
                  <a:pt x="1859" y="2502"/>
                  <a:pt x="2278" y="2279"/>
                  <a:pt x="2510" y="1881"/>
                </a:cubicBezTo>
                <a:cubicBezTo>
                  <a:pt x="2857" y="1281"/>
                  <a:pt x="2653" y="517"/>
                  <a:pt x="2059" y="170"/>
                </a:cubicBezTo>
                <a:cubicBezTo>
                  <a:pt x="1860" y="55"/>
                  <a:pt x="1644" y="1"/>
                  <a:pt x="1430" y="1"/>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131" name="Google Shape;131;p22"/>
          <p:cNvSpPr/>
          <p:nvPr/>
        </p:nvSpPr>
        <p:spPr>
          <a:xfrm>
            <a:off x="4806833" y="1655664"/>
            <a:ext cx="287191" cy="251417"/>
          </a:xfrm>
          <a:custGeom>
            <a:avLst/>
            <a:gdLst/>
            <a:ahLst/>
            <a:cxnLst/>
            <a:rect l="l" t="t" r="r" b="b"/>
            <a:pathLst>
              <a:path w="2858" h="2502" extrusionOk="0">
                <a:moveTo>
                  <a:pt x="1428" y="0"/>
                </a:moveTo>
                <a:cubicBezTo>
                  <a:pt x="1218" y="0"/>
                  <a:pt x="1005" y="53"/>
                  <a:pt x="810" y="164"/>
                </a:cubicBezTo>
                <a:cubicBezTo>
                  <a:pt x="210" y="505"/>
                  <a:pt x="1" y="1270"/>
                  <a:pt x="342" y="1870"/>
                </a:cubicBezTo>
                <a:cubicBezTo>
                  <a:pt x="572" y="2275"/>
                  <a:pt x="993" y="2502"/>
                  <a:pt x="1426" y="2502"/>
                </a:cubicBezTo>
                <a:cubicBezTo>
                  <a:pt x="1635" y="2502"/>
                  <a:pt x="1848" y="2449"/>
                  <a:pt x="2043" y="2338"/>
                </a:cubicBezTo>
                <a:cubicBezTo>
                  <a:pt x="2643" y="1997"/>
                  <a:pt x="2857" y="1232"/>
                  <a:pt x="2516" y="632"/>
                </a:cubicBezTo>
                <a:cubicBezTo>
                  <a:pt x="2286" y="227"/>
                  <a:pt x="1863" y="0"/>
                  <a:pt x="1428"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132" name="Google Shape;132;p22"/>
          <p:cNvSpPr/>
          <p:nvPr/>
        </p:nvSpPr>
        <p:spPr>
          <a:xfrm>
            <a:off x="877223" y="4183733"/>
            <a:ext cx="1374400" cy="1572000"/>
          </a:xfrm>
          <a:prstGeom prst="rect">
            <a:avLst/>
          </a:prstGeom>
          <a:noFill/>
          <a:ln w="19050"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33" name="Google Shape;133;p22"/>
          <p:cNvSpPr/>
          <p:nvPr/>
        </p:nvSpPr>
        <p:spPr>
          <a:xfrm>
            <a:off x="1119651" y="3462554"/>
            <a:ext cx="889972" cy="889972"/>
          </a:xfrm>
          <a:custGeom>
            <a:avLst/>
            <a:gdLst/>
            <a:ahLst/>
            <a:cxnLst/>
            <a:rect l="l" t="t" r="r" b="b"/>
            <a:pathLst>
              <a:path w="11008" h="11008" extrusionOk="0">
                <a:moveTo>
                  <a:pt x="5504" y="1"/>
                </a:moveTo>
                <a:cubicBezTo>
                  <a:pt x="2466" y="1"/>
                  <a:pt x="0" y="2467"/>
                  <a:pt x="0" y="5504"/>
                </a:cubicBezTo>
                <a:cubicBezTo>
                  <a:pt x="0" y="8542"/>
                  <a:pt x="2466" y="11008"/>
                  <a:pt x="5504" y="11008"/>
                </a:cubicBezTo>
                <a:cubicBezTo>
                  <a:pt x="8547" y="11008"/>
                  <a:pt x="11007" y="8542"/>
                  <a:pt x="11007" y="5504"/>
                </a:cubicBezTo>
                <a:cubicBezTo>
                  <a:pt x="11007" y="2467"/>
                  <a:pt x="8542" y="1"/>
                  <a:pt x="5504"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134" name="Google Shape;134;p22"/>
          <p:cNvSpPr/>
          <p:nvPr/>
        </p:nvSpPr>
        <p:spPr>
          <a:xfrm>
            <a:off x="3143335" y="4183733"/>
            <a:ext cx="1374400" cy="1572000"/>
          </a:xfrm>
          <a:prstGeom prst="rect">
            <a:avLst/>
          </a:prstGeom>
          <a:noFill/>
          <a:ln w="19050"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35" name="Google Shape;135;p22"/>
          <p:cNvSpPr/>
          <p:nvPr/>
        </p:nvSpPr>
        <p:spPr>
          <a:xfrm>
            <a:off x="3406130" y="3462554"/>
            <a:ext cx="889972" cy="889972"/>
          </a:xfrm>
          <a:custGeom>
            <a:avLst/>
            <a:gdLst/>
            <a:ahLst/>
            <a:cxnLst/>
            <a:rect l="l" t="t" r="r" b="b"/>
            <a:pathLst>
              <a:path w="11008" h="11008" extrusionOk="0">
                <a:moveTo>
                  <a:pt x="5504" y="1"/>
                </a:moveTo>
                <a:cubicBezTo>
                  <a:pt x="2461" y="1"/>
                  <a:pt x="1" y="2467"/>
                  <a:pt x="1" y="5504"/>
                </a:cubicBezTo>
                <a:cubicBezTo>
                  <a:pt x="1" y="8542"/>
                  <a:pt x="2461" y="11008"/>
                  <a:pt x="5504" y="11008"/>
                </a:cubicBezTo>
                <a:cubicBezTo>
                  <a:pt x="8542" y="11008"/>
                  <a:pt x="11008" y="8542"/>
                  <a:pt x="11008" y="5504"/>
                </a:cubicBezTo>
                <a:cubicBezTo>
                  <a:pt x="11008" y="2467"/>
                  <a:pt x="8542" y="1"/>
                  <a:pt x="5504" y="1"/>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136" name="Google Shape;136;p22"/>
          <p:cNvSpPr/>
          <p:nvPr/>
        </p:nvSpPr>
        <p:spPr>
          <a:xfrm>
            <a:off x="7675560" y="4183733"/>
            <a:ext cx="1374400" cy="1572000"/>
          </a:xfrm>
          <a:prstGeom prst="rect">
            <a:avLst/>
          </a:prstGeom>
          <a:noFill/>
          <a:ln w="19050"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37" name="Google Shape;137;p22"/>
          <p:cNvSpPr/>
          <p:nvPr/>
        </p:nvSpPr>
        <p:spPr>
          <a:xfrm>
            <a:off x="7917560" y="3462554"/>
            <a:ext cx="890457" cy="889972"/>
          </a:xfrm>
          <a:custGeom>
            <a:avLst/>
            <a:gdLst/>
            <a:ahLst/>
            <a:cxnLst/>
            <a:rect l="l" t="t" r="r" b="b"/>
            <a:pathLst>
              <a:path w="11014" h="11008" extrusionOk="0">
                <a:moveTo>
                  <a:pt x="5504" y="1"/>
                </a:moveTo>
                <a:cubicBezTo>
                  <a:pt x="2466" y="1"/>
                  <a:pt x="1" y="2467"/>
                  <a:pt x="1" y="5504"/>
                </a:cubicBezTo>
                <a:cubicBezTo>
                  <a:pt x="1" y="8542"/>
                  <a:pt x="2466" y="11008"/>
                  <a:pt x="5504" y="11008"/>
                </a:cubicBezTo>
                <a:cubicBezTo>
                  <a:pt x="8548" y="11008"/>
                  <a:pt x="11013" y="8542"/>
                  <a:pt x="11013" y="5504"/>
                </a:cubicBezTo>
                <a:cubicBezTo>
                  <a:pt x="11013" y="2467"/>
                  <a:pt x="8548" y="1"/>
                  <a:pt x="550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138" name="Google Shape;138;p22"/>
          <p:cNvSpPr/>
          <p:nvPr/>
        </p:nvSpPr>
        <p:spPr>
          <a:xfrm>
            <a:off x="5409447" y="4183733"/>
            <a:ext cx="1374400" cy="1572000"/>
          </a:xfrm>
          <a:prstGeom prst="rect">
            <a:avLst/>
          </a:prstGeom>
          <a:noFill/>
          <a:ln w="19050"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39" name="Google Shape;139;p22"/>
          <p:cNvSpPr/>
          <p:nvPr/>
        </p:nvSpPr>
        <p:spPr>
          <a:xfrm>
            <a:off x="5651475" y="3462554"/>
            <a:ext cx="890376" cy="889972"/>
          </a:xfrm>
          <a:custGeom>
            <a:avLst/>
            <a:gdLst/>
            <a:ahLst/>
            <a:cxnLst/>
            <a:rect l="l" t="t" r="r" b="b"/>
            <a:pathLst>
              <a:path w="11013" h="11008" extrusionOk="0">
                <a:moveTo>
                  <a:pt x="5504" y="1"/>
                </a:moveTo>
                <a:cubicBezTo>
                  <a:pt x="2466" y="1"/>
                  <a:pt x="0" y="2467"/>
                  <a:pt x="0" y="5504"/>
                </a:cubicBezTo>
                <a:cubicBezTo>
                  <a:pt x="0" y="8542"/>
                  <a:pt x="2466" y="11008"/>
                  <a:pt x="5504" y="11008"/>
                </a:cubicBezTo>
                <a:cubicBezTo>
                  <a:pt x="8547" y="11008"/>
                  <a:pt x="11007" y="8542"/>
                  <a:pt x="11013" y="5504"/>
                </a:cubicBezTo>
                <a:cubicBezTo>
                  <a:pt x="11013" y="2467"/>
                  <a:pt x="8547" y="1"/>
                  <a:pt x="5504" y="1"/>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140" name="Google Shape;140;p22"/>
          <p:cNvSpPr/>
          <p:nvPr/>
        </p:nvSpPr>
        <p:spPr>
          <a:xfrm>
            <a:off x="9941672" y="4183733"/>
            <a:ext cx="1374400" cy="1572000"/>
          </a:xfrm>
          <a:prstGeom prst="rect">
            <a:avLst/>
          </a:prstGeom>
          <a:noFill/>
          <a:ln w="19050"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41" name="Google Shape;141;p22"/>
          <p:cNvSpPr/>
          <p:nvPr/>
        </p:nvSpPr>
        <p:spPr>
          <a:xfrm>
            <a:off x="10183913" y="3462554"/>
            <a:ext cx="890457" cy="889972"/>
          </a:xfrm>
          <a:custGeom>
            <a:avLst/>
            <a:gdLst/>
            <a:ahLst/>
            <a:cxnLst/>
            <a:rect l="l" t="t" r="r" b="b"/>
            <a:pathLst>
              <a:path w="11014" h="11008" extrusionOk="0">
                <a:moveTo>
                  <a:pt x="5510" y="1"/>
                </a:moveTo>
                <a:cubicBezTo>
                  <a:pt x="2466" y="1"/>
                  <a:pt x="1" y="2467"/>
                  <a:pt x="1" y="5504"/>
                </a:cubicBezTo>
                <a:cubicBezTo>
                  <a:pt x="1" y="8542"/>
                  <a:pt x="2466" y="11008"/>
                  <a:pt x="5510" y="11008"/>
                </a:cubicBezTo>
                <a:cubicBezTo>
                  <a:pt x="8548" y="11008"/>
                  <a:pt x="11013" y="8542"/>
                  <a:pt x="11013" y="5504"/>
                </a:cubicBezTo>
                <a:cubicBezTo>
                  <a:pt x="11013" y="2467"/>
                  <a:pt x="8548" y="1"/>
                  <a:pt x="5510" y="1"/>
                </a:cubicBez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142" name="Google Shape;142;p22"/>
          <p:cNvSpPr txBox="1"/>
          <p:nvPr/>
        </p:nvSpPr>
        <p:spPr>
          <a:xfrm>
            <a:off x="877233" y="4386933"/>
            <a:ext cx="1374400" cy="966000"/>
          </a:xfrm>
          <a:prstGeom prst="rect">
            <a:avLst/>
          </a:prstGeom>
          <a:noFill/>
          <a:ln>
            <a:noFill/>
          </a:ln>
        </p:spPr>
        <p:txBody>
          <a:bodyPr spcFirstLastPara="1" wrap="square" lIns="0" tIns="8933" rIns="0" bIns="0" anchor="ctr" anchorCtr="0">
            <a:noAutofit/>
          </a:bodyPr>
          <a:lstStyle/>
          <a:p>
            <a:pPr marL="16933" algn="ctr"/>
            <a:r>
              <a:rPr lang="es" sz="1600" dirty="0">
                <a:solidFill>
                  <a:srgbClr val="000000"/>
                </a:solidFill>
                <a:latin typeface="Roboto"/>
                <a:ea typeface="Roboto"/>
                <a:cs typeface="Roboto"/>
                <a:sym typeface="Roboto"/>
              </a:rPr>
              <a:t>Gather &amp; Understand the requirements</a:t>
            </a:r>
            <a:endParaRPr sz="1600" dirty="0">
              <a:solidFill>
                <a:srgbClr val="000000"/>
              </a:solidFill>
              <a:latin typeface="Roboto"/>
              <a:ea typeface="Roboto"/>
              <a:cs typeface="Roboto"/>
              <a:sym typeface="Roboto"/>
            </a:endParaRPr>
          </a:p>
        </p:txBody>
      </p:sp>
      <p:sp>
        <p:nvSpPr>
          <p:cNvPr id="143" name="Google Shape;143;p22"/>
          <p:cNvSpPr txBox="1"/>
          <p:nvPr/>
        </p:nvSpPr>
        <p:spPr>
          <a:xfrm>
            <a:off x="3143333" y="4386985"/>
            <a:ext cx="1374400" cy="966000"/>
          </a:xfrm>
          <a:prstGeom prst="rect">
            <a:avLst/>
          </a:prstGeom>
          <a:noFill/>
          <a:ln>
            <a:noFill/>
          </a:ln>
        </p:spPr>
        <p:txBody>
          <a:bodyPr spcFirstLastPara="1" wrap="square" lIns="0" tIns="8933" rIns="0" bIns="0" anchor="ctr" anchorCtr="0">
            <a:noAutofit/>
          </a:bodyPr>
          <a:lstStyle/>
          <a:p>
            <a:pPr marL="16933" algn="ctr"/>
            <a:r>
              <a:rPr lang="es" sz="1600" dirty="0">
                <a:latin typeface="Roboto"/>
                <a:ea typeface="Roboto"/>
                <a:cs typeface="Roboto"/>
                <a:sym typeface="Roboto"/>
              </a:rPr>
              <a:t>Create Various Prototypes and Designs while Planning </a:t>
            </a:r>
            <a:endParaRPr sz="1600" dirty="0">
              <a:solidFill>
                <a:srgbClr val="000000"/>
              </a:solidFill>
              <a:latin typeface="Roboto"/>
              <a:ea typeface="Roboto"/>
              <a:cs typeface="Roboto"/>
              <a:sym typeface="Roboto"/>
            </a:endParaRPr>
          </a:p>
        </p:txBody>
      </p:sp>
      <p:sp>
        <p:nvSpPr>
          <p:cNvPr id="144" name="Google Shape;144;p22"/>
          <p:cNvSpPr txBox="1"/>
          <p:nvPr/>
        </p:nvSpPr>
        <p:spPr>
          <a:xfrm>
            <a:off x="5409433" y="4386985"/>
            <a:ext cx="1374400" cy="966000"/>
          </a:xfrm>
          <a:prstGeom prst="rect">
            <a:avLst/>
          </a:prstGeom>
          <a:noFill/>
          <a:ln>
            <a:noFill/>
          </a:ln>
        </p:spPr>
        <p:txBody>
          <a:bodyPr spcFirstLastPara="1" wrap="square" lIns="0" tIns="8933" rIns="0" bIns="0" anchor="ctr" anchorCtr="0">
            <a:noAutofit/>
          </a:bodyPr>
          <a:lstStyle/>
          <a:p>
            <a:pPr marL="16933" algn="ctr">
              <a:buClr>
                <a:schemeClr val="dk1"/>
              </a:buClr>
              <a:buSzPts val="1100"/>
            </a:pPr>
            <a:r>
              <a:rPr lang="es" sz="1600" dirty="0">
                <a:solidFill>
                  <a:schemeClr val="dk1"/>
                </a:solidFill>
                <a:latin typeface="Roboto"/>
                <a:ea typeface="Roboto"/>
                <a:cs typeface="Roboto"/>
                <a:sym typeface="Roboto"/>
              </a:rPr>
              <a:t>Start coding and create software/applications</a:t>
            </a:r>
            <a:endParaRPr sz="1600" dirty="0">
              <a:solidFill>
                <a:srgbClr val="000000"/>
              </a:solidFill>
              <a:latin typeface="Roboto"/>
              <a:ea typeface="Roboto"/>
              <a:cs typeface="Roboto"/>
              <a:sym typeface="Roboto"/>
            </a:endParaRPr>
          </a:p>
        </p:txBody>
      </p:sp>
      <p:sp>
        <p:nvSpPr>
          <p:cNvPr id="145" name="Google Shape;145;p22"/>
          <p:cNvSpPr txBox="1"/>
          <p:nvPr/>
        </p:nvSpPr>
        <p:spPr>
          <a:xfrm>
            <a:off x="7675567" y="4386985"/>
            <a:ext cx="1374400" cy="966000"/>
          </a:xfrm>
          <a:prstGeom prst="rect">
            <a:avLst/>
          </a:prstGeom>
          <a:noFill/>
          <a:ln>
            <a:noFill/>
          </a:ln>
        </p:spPr>
        <p:txBody>
          <a:bodyPr spcFirstLastPara="1" wrap="square" lIns="0" tIns="8933" rIns="0" bIns="0" anchor="ctr" anchorCtr="0">
            <a:noAutofit/>
          </a:bodyPr>
          <a:lstStyle/>
          <a:p>
            <a:pPr marL="16933" algn="ctr"/>
            <a:r>
              <a:rPr lang="en-US" sz="1600" dirty="0">
                <a:solidFill>
                  <a:srgbClr val="000000"/>
                </a:solidFill>
                <a:latin typeface="Roboto"/>
                <a:ea typeface="Roboto"/>
                <a:cs typeface="Roboto"/>
                <a:sym typeface="Roboto"/>
              </a:rPr>
              <a:t>Conduct various types of test to check for any </a:t>
            </a:r>
            <a:endParaRPr sz="1600" dirty="0">
              <a:solidFill>
                <a:srgbClr val="000000"/>
              </a:solidFill>
              <a:latin typeface="Roboto"/>
              <a:ea typeface="Roboto"/>
              <a:cs typeface="Roboto"/>
              <a:sym typeface="Roboto"/>
            </a:endParaRPr>
          </a:p>
        </p:txBody>
      </p:sp>
      <p:sp>
        <p:nvSpPr>
          <p:cNvPr id="146" name="Google Shape;146;p22"/>
          <p:cNvSpPr txBox="1"/>
          <p:nvPr/>
        </p:nvSpPr>
        <p:spPr>
          <a:xfrm>
            <a:off x="9941700" y="4386985"/>
            <a:ext cx="1374400" cy="966000"/>
          </a:xfrm>
          <a:prstGeom prst="rect">
            <a:avLst/>
          </a:prstGeom>
          <a:noFill/>
          <a:ln>
            <a:noFill/>
          </a:ln>
        </p:spPr>
        <p:txBody>
          <a:bodyPr spcFirstLastPara="1" wrap="square" lIns="121900" tIns="121900" rIns="121900" bIns="121900" anchor="ctr" anchorCtr="0">
            <a:noAutofit/>
          </a:bodyPr>
          <a:lstStyle/>
          <a:p>
            <a:pPr algn="ctr"/>
            <a:r>
              <a:rPr lang="es" sz="1600" dirty="0">
                <a:solidFill>
                  <a:schemeClr val="dk1"/>
                </a:solidFill>
                <a:latin typeface="Roboto"/>
                <a:ea typeface="Roboto"/>
                <a:cs typeface="Roboto"/>
                <a:sym typeface="Roboto"/>
              </a:rPr>
              <a:t>Deploy the software</a:t>
            </a:r>
            <a:endParaRPr sz="2400" dirty="0"/>
          </a:p>
        </p:txBody>
      </p:sp>
      <p:sp>
        <p:nvSpPr>
          <p:cNvPr id="147" name="Google Shape;147;p22"/>
          <p:cNvSpPr/>
          <p:nvPr/>
        </p:nvSpPr>
        <p:spPr>
          <a:xfrm>
            <a:off x="781617" y="5436467"/>
            <a:ext cx="1565600" cy="831168"/>
          </a:xfrm>
          <a:prstGeom prst="roundRect">
            <a:avLst>
              <a:gd name="adj" fmla="val 50000"/>
            </a:avLst>
          </a:prstGeom>
          <a:solidFill>
            <a:schemeClr val="accent5"/>
          </a:solidFill>
          <a:ln>
            <a:noFill/>
          </a:ln>
        </p:spPr>
        <p:txBody>
          <a:bodyPr spcFirstLastPara="1" wrap="square" lIns="121900" tIns="121900" rIns="121900" bIns="121900" anchor="ctr" anchorCtr="0">
            <a:noAutofit/>
          </a:bodyPr>
          <a:lstStyle/>
          <a:p>
            <a:endParaRPr sz="2400"/>
          </a:p>
        </p:txBody>
      </p:sp>
      <p:sp>
        <p:nvSpPr>
          <p:cNvPr id="148" name="Google Shape;148;p22"/>
          <p:cNvSpPr txBox="1"/>
          <p:nvPr/>
        </p:nvSpPr>
        <p:spPr>
          <a:xfrm>
            <a:off x="689966" y="5395454"/>
            <a:ext cx="1695675" cy="1040456"/>
          </a:xfrm>
          <a:prstGeom prst="rect">
            <a:avLst/>
          </a:prstGeom>
          <a:noFill/>
          <a:ln>
            <a:noFill/>
          </a:ln>
        </p:spPr>
        <p:txBody>
          <a:bodyPr spcFirstLastPara="1" wrap="square" lIns="121900" tIns="121900" rIns="121900" bIns="121900" anchor="ctr" anchorCtr="0">
            <a:noAutofit/>
          </a:bodyPr>
          <a:lstStyle/>
          <a:p>
            <a:pPr marL="16933" algn="ctr"/>
            <a:r>
              <a:rPr lang="es" b="1" dirty="0">
                <a:solidFill>
                  <a:schemeClr val="lt1"/>
                </a:solidFill>
                <a:latin typeface="Roboto"/>
                <a:ea typeface="Roboto"/>
                <a:cs typeface="Roboto"/>
                <a:sym typeface="Roboto"/>
              </a:rPr>
              <a:t>Requirement gathering</a:t>
            </a:r>
            <a:endParaRPr b="1" dirty="0">
              <a:solidFill>
                <a:schemeClr val="lt1"/>
              </a:solidFill>
              <a:latin typeface="Roboto"/>
              <a:ea typeface="Roboto"/>
              <a:cs typeface="Roboto"/>
              <a:sym typeface="Roboto"/>
            </a:endParaRPr>
          </a:p>
        </p:txBody>
      </p:sp>
      <p:sp>
        <p:nvSpPr>
          <p:cNvPr id="149" name="Google Shape;149;p22"/>
          <p:cNvSpPr/>
          <p:nvPr/>
        </p:nvSpPr>
        <p:spPr>
          <a:xfrm>
            <a:off x="3047717" y="5436467"/>
            <a:ext cx="1565600" cy="831168"/>
          </a:xfrm>
          <a:prstGeom prst="roundRect">
            <a:avLst>
              <a:gd name="adj" fmla="val 50000"/>
            </a:avLst>
          </a:prstGeom>
          <a:solidFill>
            <a:schemeClr val="accent1"/>
          </a:solidFill>
          <a:ln>
            <a:noFill/>
          </a:ln>
        </p:spPr>
        <p:txBody>
          <a:bodyPr spcFirstLastPara="1" wrap="square" lIns="121900" tIns="121900" rIns="121900" bIns="121900" anchor="ctr" anchorCtr="0">
            <a:noAutofit/>
          </a:bodyPr>
          <a:lstStyle/>
          <a:p>
            <a:endParaRPr sz="2400" dirty="0"/>
          </a:p>
        </p:txBody>
      </p:sp>
      <p:sp>
        <p:nvSpPr>
          <p:cNvPr id="150" name="Google Shape;150;p22"/>
          <p:cNvSpPr/>
          <p:nvPr/>
        </p:nvSpPr>
        <p:spPr>
          <a:xfrm>
            <a:off x="5313833" y="5436466"/>
            <a:ext cx="1565600" cy="831167"/>
          </a:xfrm>
          <a:prstGeom prst="roundRect">
            <a:avLst>
              <a:gd name="adj" fmla="val 50000"/>
            </a:avLst>
          </a:prstGeom>
          <a:solidFill>
            <a:schemeClr val="accent2"/>
          </a:solidFill>
          <a:ln>
            <a:noFill/>
          </a:ln>
        </p:spPr>
        <p:txBody>
          <a:bodyPr spcFirstLastPara="1" wrap="square" lIns="121900" tIns="121900" rIns="121900" bIns="121900" anchor="ctr" anchorCtr="0">
            <a:noAutofit/>
          </a:bodyPr>
          <a:lstStyle/>
          <a:p>
            <a:endParaRPr sz="2400"/>
          </a:p>
        </p:txBody>
      </p:sp>
      <p:sp>
        <p:nvSpPr>
          <p:cNvPr id="151" name="Google Shape;151;p22"/>
          <p:cNvSpPr/>
          <p:nvPr/>
        </p:nvSpPr>
        <p:spPr>
          <a:xfrm>
            <a:off x="7579951" y="5436467"/>
            <a:ext cx="1565600" cy="831166"/>
          </a:xfrm>
          <a:prstGeom prst="roundRect">
            <a:avLst>
              <a:gd name="adj" fmla="val 50000"/>
            </a:avLst>
          </a:prstGeom>
          <a:solidFill>
            <a:schemeClr val="accent3"/>
          </a:solidFill>
          <a:ln>
            <a:noFill/>
          </a:ln>
        </p:spPr>
        <p:txBody>
          <a:bodyPr spcFirstLastPara="1" wrap="square" lIns="121900" tIns="121900" rIns="121900" bIns="121900" anchor="ctr" anchorCtr="0">
            <a:noAutofit/>
          </a:bodyPr>
          <a:lstStyle/>
          <a:p>
            <a:endParaRPr sz="2400"/>
          </a:p>
        </p:txBody>
      </p:sp>
      <p:sp>
        <p:nvSpPr>
          <p:cNvPr id="152" name="Google Shape;152;p22"/>
          <p:cNvSpPr/>
          <p:nvPr/>
        </p:nvSpPr>
        <p:spPr>
          <a:xfrm>
            <a:off x="9846084" y="5436466"/>
            <a:ext cx="1565600" cy="831165"/>
          </a:xfrm>
          <a:prstGeom prst="roundRect">
            <a:avLst>
              <a:gd name="adj" fmla="val 50000"/>
            </a:avLst>
          </a:prstGeom>
          <a:solidFill>
            <a:schemeClr val="accent4"/>
          </a:solidFill>
          <a:ln>
            <a:noFill/>
          </a:ln>
        </p:spPr>
        <p:txBody>
          <a:bodyPr spcFirstLastPara="1" wrap="square" lIns="121900" tIns="121900" rIns="121900" bIns="121900" anchor="ctr" anchorCtr="0">
            <a:noAutofit/>
          </a:bodyPr>
          <a:lstStyle/>
          <a:p>
            <a:endParaRPr sz="2400"/>
          </a:p>
        </p:txBody>
      </p:sp>
      <p:sp>
        <p:nvSpPr>
          <p:cNvPr id="153" name="Google Shape;153;p22"/>
          <p:cNvSpPr txBox="1"/>
          <p:nvPr/>
        </p:nvSpPr>
        <p:spPr>
          <a:xfrm>
            <a:off x="2939930" y="5486209"/>
            <a:ext cx="1565600" cy="706011"/>
          </a:xfrm>
          <a:prstGeom prst="rect">
            <a:avLst/>
          </a:prstGeom>
          <a:noFill/>
          <a:ln>
            <a:noFill/>
          </a:ln>
        </p:spPr>
        <p:txBody>
          <a:bodyPr spcFirstLastPara="1" wrap="square" lIns="121900" tIns="121900" rIns="121900" bIns="121900" anchor="ctr" anchorCtr="0">
            <a:noAutofit/>
          </a:bodyPr>
          <a:lstStyle/>
          <a:p>
            <a:pPr marL="16933" algn="ctr"/>
            <a:r>
              <a:rPr lang="es" b="1" dirty="0">
                <a:solidFill>
                  <a:schemeClr val="lt1"/>
                </a:solidFill>
                <a:latin typeface="Roboto"/>
                <a:ea typeface="Roboto"/>
                <a:sym typeface="Roboto"/>
              </a:rPr>
              <a:t>Analyse ,Plan &amp; Design</a:t>
            </a:r>
            <a:endParaRPr b="1" dirty="0">
              <a:solidFill>
                <a:schemeClr val="lt1"/>
              </a:solidFill>
              <a:latin typeface="Roboto"/>
              <a:ea typeface="Roboto"/>
              <a:sym typeface="Roboto"/>
            </a:endParaRPr>
          </a:p>
        </p:txBody>
      </p:sp>
      <p:sp>
        <p:nvSpPr>
          <p:cNvPr id="154" name="Google Shape;154;p22"/>
          <p:cNvSpPr txBox="1"/>
          <p:nvPr/>
        </p:nvSpPr>
        <p:spPr>
          <a:xfrm>
            <a:off x="5336137" y="5581074"/>
            <a:ext cx="1565600" cy="432800"/>
          </a:xfrm>
          <a:prstGeom prst="rect">
            <a:avLst/>
          </a:prstGeom>
          <a:noFill/>
          <a:ln>
            <a:noFill/>
          </a:ln>
        </p:spPr>
        <p:txBody>
          <a:bodyPr spcFirstLastPara="1" wrap="square" lIns="121900" tIns="121900" rIns="121900" bIns="121900" anchor="ctr" anchorCtr="0">
            <a:noAutofit/>
          </a:bodyPr>
          <a:lstStyle/>
          <a:p>
            <a:pPr marL="16933" algn="ctr"/>
            <a:r>
              <a:rPr lang="es" b="1" dirty="0">
                <a:solidFill>
                  <a:schemeClr val="lt1"/>
                </a:solidFill>
                <a:latin typeface="Roboto"/>
                <a:ea typeface="Roboto"/>
                <a:sym typeface="Roboto"/>
              </a:rPr>
              <a:t>Develop</a:t>
            </a:r>
            <a:endParaRPr b="1" dirty="0">
              <a:solidFill>
                <a:schemeClr val="lt1"/>
              </a:solidFill>
              <a:latin typeface="Roboto"/>
              <a:ea typeface="Roboto"/>
              <a:sym typeface="Roboto"/>
            </a:endParaRPr>
          </a:p>
        </p:txBody>
      </p:sp>
      <p:sp>
        <p:nvSpPr>
          <p:cNvPr id="155" name="Google Shape;155;p22"/>
          <p:cNvSpPr txBox="1"/>
          <p:nvPr/>
        </p:nvSpPr>
        <p:spPr>
          <a:xfrm>
            <a:off x="7545470" y="5622815"/>
            <a:ext cx="1565600" cy="432800"/>
          </a:xfrm>
          <a:prstGeom prst="rect">
            <a:avLst/>
          </a:prstGeom>
          <a:noFill/>
          <a:ln>
            <a:noFill/>
          </a:ln>
        </p:spPr>
        <p:txBody>
          <a:bodyPr spcFirstLastPara="1" wrap="square" lIns="121900" tIns="121900" rIns="121900" bIns="121900" anchor="ctr" anchorCtr="0">
            <a:noAutofit/>
          </a:bodyPr>
          <a:lstStyle/>
          <a:p>
            <a:pPr marL="16933" algn="ctr"/>
            <a:r>
              <a:rPr lang="en-US" b="1" dirty="0">
                <a:solidFill>
                  <a:schemeClr val="lt1"/>
                </a:solidFill>
                <a:latin typeface="Roboto"/>
                <a:ea typeface="Roboto"/>
                <a:sym typeface="Roboto"/>
              </a:rPr>
              <a:t>Test</a:t>
            </a:r>
            <a:endParaRPr b="1" dirty="0">
              <a:solidFill>
                <a:schemeClr val="lt1"/>
              </a:solidFill>
              <a:latin typeface="Roboto"/>
              <a:ea typeface="Roboto"/>
              <a:sym typeface="Roboto"/>
            </a:endParaRPr>
          </a:p>
        </p:txBody>
      </p:sp>
      <p:sp>
        <p:nvSpPr>
          <p:cNvPr id="156" name="Google Shape;156;p22"/>
          <p:cNvSpPr txBox="1"/>
          <p:nvPr/>
        </p:nvSpPr>
        <p:spPr>
          <a:xfrm>
            <a:off x="9846069" y="5436466"/>
            <a:ext cx="1565600" cy="746418"/>
          </a:xfrm>
          <a:prstGeom prst="rect">
            <a:avLst/>
          </a:prstGeom>
          <a:noFill/>
          <a:ln>
            <a:noFill/>
          </a:ln>
        </p:spPr>
        <p:txBody>
          <a:bodyPr spcFirstLastPara="1" wrap="square" lIns="121900" tIns="121900" rIns="121900" bIns="121900" anchor="ctr" anchorCtr="0">
            <a:noAutofit/>
          </a:bodyPr>
          <a:lstStyle/>
          <a:p>
            <a:pPr marL="16933" algn="ctr"/>
            <a:r>
              <a:rPr lang="es" b="1" dirty="0">
                <a:solidFill>
                  <a:schemeClr val="lt1"/>
                </a:solidFill>
                <a:latin typeface="Roboto"/>
                <a:ea typeface="Roboto"/>
                <a:sym typeface="Roboto"/>
              </a:rPr>
              <a:t>Deploy</a:t>
            </a:r>
            <a:endParaRPr b="1" dirty="0">
              <a:solidFill>
                <a:schemeClr val="lt1"/>
              </a:solidFill>
              <a:latin typeface="Roboto"/>
              <a:ea typeface="Roboto"/>
              <a:sym typeface="Roboto"/>
            </a:endParaRPr>
          </a:p>
        </p:txBody>
      </p:sp>
      <p:sp>
        <p:nvSpPr>
          <p:cNvPr id="157" name="Google Shape;157;p22"/>
          <p:cNvSpPr/>
          <p:nvPr/>
        </p:nvSpPr>
        <p:spPr>
          <a:xfrm>
            <a:off x="3615767" y="3853567"/>
            <a:ext cx="429535" cy="268900"/>
          </a:xfrm>
          <a:custGeom>
            <a:avLst/>
            <a:gdLst/>
            <a:ahLst/>
            <a:cxnLst/>
            <a:rect l="l" t="t" r="r" b="b"/>
            <a:pathLst>
              <a:path w="10121" h="6336" extrusionOk="0">
                <a:moveTo>
                  <a:pt x="2691" y="2847"/>
                </a:moveTo>
                <a:lnTo>
                  <a:pt x="2691" y="6037"/>
                </a:lnTo>
                <a:lnTo>
                  <a:pt x="1393" y="6037"/>
                </a:lnTo>
                <a:lnTo>
                  <a:pt x="1393" y="2847"/>
                </a:lnTo>
                <a:close/>
                <a:moveTo>
                  <a:pt x="5703" y="2049"/>
                </a:moveTo>
                <a:lnTo>
                  <a:pt x="5703" y="6037"/>
                </a:lnTo>
                <a:lnTo>
                  <a:pt x="4406" y="6037"/>
                </a:lnTo>
                <a:lnTo>
                  <a:pt x="4406" y="2049"/>
                </a:lnTo>
                <a:close/>
                <a:moveTo>
                  <a:pt x="8704" y="299"/>
                </a:moveTo>
                <a:lnTo>
                  <a:pt x="8704" y="6037"/>
                </a:lnTo>
                <a:lnTo>
                  <a:pt x="7406" y="6037"/>
                </a:lnTo>
                <a:lnTo>
                  <a:pt x="7406" y="299"/>
                </a:lnTo>
                <a:close/>
                <a:moveTo>
                  <a:pt x="7275" y="1"/>
                </a:moveTo>
                <a:cubicBezTo>
                  <a:pt x="7192" y="1"/>
                  <a:pt x="7132" y="61"/>
                  <a:pt x="7132" y="156"/>
                </a:cubicBezTo>
                <a:lnTo>
                  <a:pt x="7132" y="6037"/>
                </a:lnTo>
                <a:lnTo>
                  <a:pt x="6001" y="6037"/>
                </a:lnTo>
                <a:lnTo>
                  <a:pt x="6001" y="1894"/>
                </a:lnTo>
                <a:cubicBezTo>
                  <a:pt x="6001" y="1811"/>
                  <a:pt x="5941" y="1751"/>
                  <a:pt x="5846" y="1751"/>
                </a:cubicBezTo>
                <a:lnTo>
                  <a:pt x="4275" y="1751"/>
                </a:lnTo>
                <a:cubicBezTo>
                  <a:pt x="4179" y="1751"/>
                  <a:pt x="4120" y="1811"/>
                  <a:pt x="4120" y="1894"/>
                </a:cubicBezTo>
                <a:lnTo>
                  <a:pt x="4120" y="6037"/>
                </a:lnTo>
                <a:lnTo>
                  <a:pt x="2989" y="6037"/>
                </a:lnTo>
                <a:lnTo>
                  <a:pt x="2989" y="2704"/>
                </a:lnTo>
                <a:cubicBezTo>
                  <a:pt x="2989" y="2608"/>
                  <a:pt x="2929" y="2549"/>
                  <a:pt x="2846" y="2549"/>
                </a:cubicBezTo>
                <a:lnTo>
                  <a:pt x="1262" y="2549"/>
                </a:lnTo>
                <a:cubicBezTo>
                  <a:pt x="1167" y="2549"/>
                  <a:pt x="1119" y="2608"/>
                  <a:pt x="1119" y="2704"/>
                </a:cubicBezTo>
                <a:lnTo>
                  <a:pt x="1119" y="6037"/>
                </a:lnTo>
                <a:lnTo>
                  <a:pt x="143" y="6037"/>
                </a:lnTo>
                <a:cubicBezTo>
                  <a:pt x="60" y="6037"/>
                  <a:pt x="0" y="6097"/>
                  <a:pt x="0" y="6180"/>
                </a:cubicBezTo>
                <a:cubicBezTo>
                  <a:pt x="0" y="6276"/>
                  <a:pt x="60" y="6335"/>
                  <a:pt x="143" y="6335"/>
                </a:cubicBezTo>
                <a:lnTo>
                  <a:pt x="9966" y="6335"/>
                </a:lnTo>
                <a:cubicBezTo>
                  <a:pt x="10061" y="6335"/>
                  <a:pt x="10121" y="6276"/>
                  <a:pt x="10121" y="6180"/>
                </a:cubicBezTo>
                <a:cubicBezTo>
                  <a:pt x="10121" y="6109"/>
                  <a:pt x="10049" y="6037"/>
                  <a:pt x="9966" y="6037"/>
                </a:cubicBezTo>
                <a:lnTo>
                  <a:pt x="9001" y="6037"/>
                </a:lnTo>
                <a:lnTo>
                  <a:pt x="9001" y="156"/>
                </a:lnTo>
                <a:cubicBezTo>
                  <a:pt x="9001" y="61"/>
                  <a:pt x="8942" y="1"/>
                  <a:pt x="8859"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58" name="Google Shape;158;p22"/>
          <p:cNvSpPr/>
          <p:nvPr/>
        </p:nvSpPr>
        <p:spPr>
          <a:xfrm>
            <a:off x="3621327" y="3692635"/>
            <a:ext cx="411837" cy="247383"/>
          </a:xfrm>
          <a:custGeom>
            <a:avLst/>
            <a:gdLst/>
            <a:ahLst/>
            <a:cxnLst/>
            <a:rect l="l" t="t" r="r" b="b"/>
            <a:pathLst>
              <a:path w="9704" h="5829" extrusionOk="0">
                <a:moveTo>
                  <a:pt x="9212" y="1"/>
                </a:moveTo>
                <a:cubicBezTo>
                  <a:pt x="9189" y="1"/>
                  <a:pt x="9167" y="3"/>
                  <a:pt x="9144" y="7"/>
                </a:cubicBezTo>
                <a:lnTo>
                  <a:pt x="7870" y="162"/>
                </a:lnTo>
                <a:cubicBezTo>
                  <a:pt x="7620" y="197"/>
                  <a:pt x="7442" y="435"/>
                  <a:pt x="7477" y="685"/>
                </a:cubicBezTo>
                <a:cubicBezTo>
                  <a:pt x="7500" y="920"/>
                  <a:pt x="7711" y="1092"/>
                  <a:pt x="7944" y="1092"/>
                </a:cubicBezTo>
                <a:cubicBezTo>
                  <a:pt x="7959" y="1092"/>
                  <a:pt x="7974" y="1092"/>
                  <a:pt x="7989" y="1090"/>
                </a:cubicBezTo>
                <a:lnTo>
                  <a:pt x="8096" y="1066"/>
                </a:lnTo>
                <a:lnTo>
                  <a:pt x="8096" y="1066"/>
                </a:lnTo>
                <a:cubicBezTo>
                  <a:pt x="6537" y="2876"/>
                  <a:pt x="4691" y="3805"/>
                  <a:pt x="3382" y="4269"/>
                </a:cubicBezTo>
                <a:cubicBezTo>
                  <a:pt x="1739" y="4853"/>
                  <a:pt x="476" y="4912"/>
                  <a:pt x="465" y="4912"/>
                </a:cubicBezTo>
                <a:cubicBezTo>
                  <a:pt x="203" y="4924"/>
                  <a:pt x="0" y="5138"/>
                  <a:pt x="12" y="5388"/>
                </a:cubicBezTo>
                <a:cubicBezTo>
                  <a:pt x="36" y="5638"/>
                  <a:pt x="226" y="5829"/>
                  <a:pt x="476" y="5829"/>
                </a:cubicBezTo>
                <a:lnTo>
                  <a:pt x="488" y="5829"/>
                </a:lnTo>
                <a:cubicBezTo>
                  <a:pt x="548" y="5829"/>
                  <a:pt x="1893" y="5793"/>
                  <a:pt x="3667" y="5150"/>
                </a:cubicBezTo>
                <a:cubicBezTo>
                  <a:pt x="4656" y="4793"/>
                  <a:pt x="5596" y="4317"/>
                  <a:pt x="6442" y="3745"/>
                </a:cubicBezTo>
                <a:cubicBezTo>
                  <a:pt x="6525" y="3710"/>
                  <a:pt x="6537" y="3614"/>
                  <a:pt x="6489" y="3543"/>
                </a:cubicBezTo>
                <a:cubicBezTo>
                  <a:pt x="6458" y="3497"/>
                  <a:pt x="6413" y="3471"/>
                  <a:pt x="6365" y="3471"/>
                </a:cubicBezTo>
                <a:cubicBezTo>
                  <a:pt x="6339" y="3471"/>
                  <a:pt x="6312" y="3478"/>
                  <a:pt x="6287" y="3495"/>
                </a:cubicBezTo>
                <a:cubicBezTo>
                  <a:pt x="5453" y="4067"/>
                  <a:pt x="4537" y="4519"/>
                  <a:pt x="3560" y="4865"/>
                </a:cubicBezTo>
                <a:cubicBezTo>
                  <a:pt x="1834" y="5484"/>
                  <a:pt x="536" y="5519"/>
                  <a:pt x="476" y="5531"/>
                </a:cubicBezTo>
                <a:cubicBezTo>
                  <a:pt x="393" y="5531"/>
                  <a:pt x="310" y="5460"/>
                  <a:pt x="310" y="5377"/>
                </a:cubicBezTo>
                <a:cubicBezTo>
                  <a:pt x="310" y="5281"/>
                  <a:pt x="393" y="5210"/>
                  <a:pt x="476" y="5198"/>
                </a:cubicBezTo>
                <a:cubicBezTo>
                  <a:pt x="488" y="5198"/>
                  <a:pt x="1798" y="5150"/>
                  <a:pt x="3489" y="4543"/>
                </a:cubicBezTo>
                <a:cubicBezTo>
                  <a:pt x="4894" y="4031"/>
                  <a:pt x="6918" y="3007"/>
                  <a:pt x="8573" y="947"/>
                </a:cubicBezTo>
                <a:cubicBezTo>
                  <a:pt x="8664" y="856"/>
                  <a:pt x="8579" y="709"/>
                  <a:pt x="8456" y="709"/>
                </a:cubicBezTo>
                <a:cubicBezTo>
                  <a:pt x="8451" y="709"/>
                  <a:pt x="8447" y="709"/>
                  <a:pt x="8442" y="709"/>
                </a:cubicBezTo>
                <a:lnTo>
                  <a:pt x="7966" y="769"/>
                </a:lnTo>
                <a:cubicBezTo>
                  <a:pt x="7951" y="772"/>
                  <a:pt x="7937" y="774"/>
                  <a:pt x="7924" y="774"/>
                </a:cubicBezTo>
                <a:cubicBezTo>
                  <a:pt x="7850" y="774"/>
                  <a:pt x="7797" y="720"/>
                  <a:pt x="7787" y="650"/>
                </a:cubicBezTo>
                <a:cubicBezTo>
                  <a:pt x="7751" y="554"/>
                  <a:pt x="7835" y="459"/>
                  <a:pt x="7930" y="447"/>
                </a:cubicBezTo>
                <a:lnTo>
                  <a:pt x="9204" y="281"/>
                </a:lnTo>
                <a:cubicBezTo>
                  <a:pt x="9210" y="280"/>
                  <a:pt x="9216" y="280"/>
                  <a:pt x="9222" y="280"/>
                </a:cubicBezTo>
                <a:cubicBezTo>
                  <a:pt x="9311" y="280"/>
                  <a:pt x="9394" y="358"/>
                  <a:pt x="9394" y="447"/>
                </a:cubicBezTo>
                <a:lnTo>
                  <a:pt x="9394" y="1709"/>
                </a:lnTo>
                <a:cubicBezTo>
                  <a:pt x="9394" y="1805"/>
                  <a:pt x="9323" y="1876"/>
                  <a:pt x="9228" y="1876"/>
                </a:cubicBezTo>
                <a:cubicBezTo>
                  <a:pt x="9132" y="1876"/>
                  <a:pt x="9061" y="1805"/>
                  <a:pt x="9061" y="1709"/>
                </a:cubicBezTo>
                <a:lnTo>
                  <a:pt x="9061" y="1328"/>
                </a:lnTo>
                <a:cubicBezTo>
                  <a:pt x="9061" y="1269"/>
                  <a:pt x="9025" y="1209"/>
                  <a:pt x="8978" y="1186"/>
                </a:cubicBezTo>
                <a:cubicBezTo>
                  <a:pt x="8963" y="1183"/>
                  <a:pt x="8948" y="1181"/>
                  <a:pt x="8932" y="1181"/>
                </a:cubicBezTo>
                <a:cubicBezTo>
                  <a:pt x="8882" y="1181"/>
                  <a:pt x="8829" y="1197"/>
                  <a:pt x="8811" y="1233"/>
                </a:cubicBezTo>
                <a:cubicBezTo>
                  <a:pt x="8263" y="1924"/>
                  <a:pt x="7620" y="2531"/>
                  <a:pt x="6930" y="3067"/>
                </a:cubicBezTo>
                <a:cubicBezTo>
                  <a:pt x="6870" y="3114"/>
                  <a:pt x="6858" y="3210"/>
                  <a:pt x="6906" y="3269"/>
                </a:cubicBezTo>
                <a:cubicBezTo>
                  <a:pt x="6936" y="3307"/>
                  <a:pt x="6985" y="3330"/>
                  <a:pt x="7032" y="3330"/>
                </a:cubicBezTo>
                <a:cubicBezTo>
                  <a:pt x="7060" y="3330"/>
                  <a:pt x="7086" y="3322"/>
                  <a:pt x="7108" y="3305"/>
                </a:cubicBezTo>
                <a:cubicBezTo>
                  <a:pt x="7704" y="2840"/>
                  <a:pt x="8275" y="2305"/>
                  <a:pt x="8775" y="1745"/>
                </a:cubicBezTo>
                <a:cubicBezTo>
                  <a:pt x="8799" y="1995"/>
                  <a:pt x="8989" y="2186"/>
                  <a:pt x="9239" y="2186"/>
                </a:cubicBezTo>
                <a:cubicBezTo>
                  <a:pt x="9490" y="2186"/>
                  <a:pt x="9704" y="1983"/>
                  <a:pt x="9704" y="1721"/>
                </a:cubicBezTo>
                <a:lnTo>
                  <a:pt x="9704" y="459"/>
                </a:lnTo>
                <a:cubicBezTo>
                  <a:pt x="9680" y="328"/>
                  <a:pt x="9620" y="209"/>
                  <a:pt x="9513" y="126"/>
                </a:cubicBezTo>
                <a:cubicBezTo>
                  <a:pt x="9425" y="47"/>
                  <a:pt x="9319" y="1"/>
                  <a:pt x="9212"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59" name="Google Shape;159;p22"/>
          <p:cNvSpPr/>
          <p:nvPr/>
        </p:nvSpPr>
        <p:spPr>
          <a:xfrm>
            <a:off x="8121331" y="3664723"/>
            <a:ext cx="371944" cy="371944"/>
          </a:xfrm>
          <a:custGeom>
            <a:avLst/>
            <a:gdLst/>
            <a:ahLst/>
            <a:cxnLst/>
            <a:rect l="l" t="t" r="r" b="b"/>
            <a:pathLst>
              <a:path w="8764" h="8764" extrusionOk="0">
                <a:moveTo>
                  <a:pt x="4120" y="1"/>
                </a:moveTo>
                <a:cubicBezTo>
                  <a:pt x="3858" y="1"/>
                  <a:pt x="3632" y="203"/>
                  <a:pt x="3572" y="453"/>
                </a:cubicBezTo>
                <a:lnTo>
                  <a:pt x="3406" y="1299"/>
                </a:lnTo>
                <a:cubicBezTo>
                  <a:pt x="3227" y="1358"/>
                  <a:pt x="3060" y="1418"/>
                  <a:pt x="2906" y="1513"/>
                </a:cubicBezTo>
                <a:lnTo>
                  <a:pt x="2191" y="1037"/>
                </a:lnTo>
                <a:cubicBezTo>
                  <a:pt x="2096" y="971"/>
                  <a:pt x="1987" y="940"/>
                  <a:pt x="1879" y="940"/>
                </a:cubicBezTo>
                <a:cubicBezTo>
                  <a:pt x="1732" y="940"/>
                  <a:pt x="1587" y="998"/>
                  <a:pt x="1477" y="1108"/>
                </a:cubicBezTo>
                <a:lnTo>
                  <a:pt x="1096" y="1477"/>
                </a:lnTo>
                <a:cubicBezTo>
                  <a:pt x="905" y="1668"/>
                  <a:pt x="882" y="1965"/>
                  <a:pt x="1024" y="2191"/>
                </a:cubicBezTo>
                <a:lnTo>
                  <a:pt x="1501" y="2906"/>
                </a:lnTo>
                <a:cubicBezTo>
                  <a:pt x="1417" y="3073"/>
                  <a:pt x="1358" y="3239"/>
                  <a:pt x="1298" y="3406"/>
                </a:cubicBezTo>
                <a:lnTo>
                  <a:pt x="441" y="3573"/>
                </a:lnTo>
                <a:cubicBezTo>
                  <a:pt x="179" y="3632"/>
                  <a:pt x="0" y="3858"/>
                  <a:pt x="0" y="4132"/>
                </a:cubicBezTo>
                <a:lnTo>
                  <a:pt x="0" y="4644"/>
                </a:lnTo>
                <a:cubicBezTo>
                  <a:pt x="0" y="4918"/>
                  <a:pt x="191" y="5132"/>
                  <a:pt x="441" y="5204"/>
                </a:cubicBezTo>
                <a:lnTo>
                  <a:pt x="1298" y="5359"/>
                </a:lnTo>
                <a:cubicBezTo>
                  <a:pt x="1358" y="5537"/>
                  <a:pt x="1417" y="5704"/>
                  <a:pt x="1501" y="5871"/>
                </a:cubicBezTo>
                <a:lnTo>
                  <a:pt x="1024" y="6585"/>
                </a:lnTo>
                <a:cubicBezTo>
                  <a:pt x="882" y="6811"/>
                  <a:pt x="905" y="7109"/>
                  <a:pt x="1096" y="7299"/>
                </a:cubicBezTo>
                <a:lnTo>
                  <a:pt x="1477" y="7668"/>
                </a:lnTo>
                <a:cubicBezTo>
                  <a:pt x="1587" y="7778"/>
                  <a:pt x="1732" y="7837"/>
                  <a:pt x="1879" y="7837"/>
                </a:cubicBezTo>
                <a:cubicBezTo>
                  <a:pt x="1987" y="7837"/>
                  <a:pt x="2096" y="7805"/>
                  <a:pt x="2191" y="7740"/>
                </a:cubicBezTo>
                <a:lnTo>
                  <a:pt x="2906" y="7264"/>
                </a:lnTo>
                <a:cubicBezTo>
                  <a:pt x="3060" y="7359"/>
                  <a:pt x="3227" y="7418"/>
                  <a:pt x="3406" y="7478"/>
                </a:cubicBezTo>
                <a:lnTo>
                  <a:pt x="3572" y="8323"/>
                </a:lnTo>
                <a:cubicBezTo>
                  <a:pt x="3632" y="8585"/>
                  <a:pt x="3858" y="8764"/>
                  <a:pt x="4120" y="8764"/>
                </a:cubicBezTo>
                <a:lnTo>
                  <a:pt x="4644" y="8764"/>
                </a:lnTo>
                <a:cubicBezTo>
                  <a:pt x="4906" y="8764"/>
                  <a:pt x="5132" y="8573"/>
                  <a:pt x="5192" y="8323"/>
                </a:cubicBezTo>
                <a:lnTo>
                  <a:pt x="5358" y="7478"/>
                </a:lnTo>
                <a:cubicBezTo>
                  <a:pt x="5489" y="7430"/>
                  <a:pt x="5620" y="7371"/>
                  <a:pt x="5763" y="7311"/>
                </a:cubicBezTo>
                <a:cubicBezTo>
                  <a:pt x="5846" y="7299"/>
                  <a:pt x="5894" y="7192"/>
                  <a:pt x="5846" y="7109"/>
                </a:cubicBezTo>
                <a:cubicBezTo>
                  <a:pt x="5812" y="7039"/>
                  <a:pt x="5751" y="6995"/>
                  <a:pt x="5684" y="6995"/>
                </a:cubicBezTo>
                <a:cubicBezTo>
                  <a:pt x="5659" y="6995"/>
                  <a:pt x="5634" y="7001"/>
                  <a:pt x="5608" y="7014"/>
                </a:cubicBezTo>
                <a:cubicBezTo>
                  <a:pt x="5465" y="7085"/>
                  <a:pt x="5311" y="7144"/>
                  <a:pt x="5144" y="7180"/>
                </a:cubicBezTo>
                <a:cubicBezTo>
                  <a:pt x="5084" y="7192"/>
                  <a:pt x="5025" y="7252"/>
                  <a:pt x="5013" y="7311"/>
                </a:cubicBezTo>
                <a:lnTo>
                  <a:pt x="4823" y="8264"/>
                </a:lnTo>
                <a:cubicBezTo>
                  <a:pt x="4811" y="8347"/>
                  <a:pt x="4715" y="8430"/>
                  <a:pt x="4632" y="8430"/>
                </a:cubicBezTo>
                <a:lnTo>
                  <a:pt x="4108" y="8430"/>
                </a:lnTo>
                <a:cubicBezTo>
                  <a:pt x="4013" y="8430"/>
                  <a:pt x="3930" y="8347"/>
                  <a:pt x="3918" y="8264"/>
                </a:cubicBezTo>
                <a:lnTo>
                  <a:pt x="3715" y="7311"/>
                </a:lnTo>
                <a:cubicBezTo>
                  <a:pt x="3703" y="7252"/>
                  <a:pt x="3656" y="7192"/>
                  <a:pt x="3584" y="7180"/>
                </a:cubicBezTo>
                <a:cubicBezTo>
                  <a:pt x="3358" y="7121"/>
                  <a:pt x="3156" y="7025"/>
                  <a:pt x="2965" y="6906"/>
                </a:cubicBezTo>
                <a:cubicBezTo>
                  <a:pt x="2935" y="6894"/>
                  <a:pt x="2900" y="6888"/>
                  <a:pt x="2864" y="6888"/>
                </a:cubicBezTo>
                <a:cubicBezTo>
                  <a:pt x="2828" y="6888"/>
                  <a:pt x="2792" y="6894"/>
                  <a:pt x="2763" y="6906"/>
                </a:cubicBezTo>
                <a:lnTo>
                  <a:pt x="1965" y="7442"/>
                </a:lnTo>
                <a:cubicBezTo>
                  <a:pt x="1934" y="7468"/>
                  <a:pt x="1894" y="7480"/>
                  <a:pt x="1854" y="7480"/>
                </a:cubicBezTo>
                <a:cubicBezTo>
                  <a:pt x="1802" y="7480"/>
                  <a:pt x="1749" y="7459"/>
                  <a:pt x="1715" y="7418"/>
                </a:cubicBezTo>
                <a:lnTo>
                  <a:pt x="1334" y="7049"/>
                </a:lnTo>
                <a:cubicBezTo>
                  <a:pt x="1263" y="6966"/>
                  <a:pt x="1263" y="6859"/>
                  <a:pt x="1310" y="6787"/>
                </a:cubicBezTo>
                <a:lnTo>
                  <a:pt x="1846" y="5990"/>
                </a:lnTo>
                <a:cubicBezTo>
                  <a:pt x="1882" y="5930"/>
                  <a:pt x="1882" y="5859"/>
                  <a:pt x="1846" y="5799"/>
                </a:cubicBezTo>
                <a:cubicBezTo>
                  <a:pt x="1727" y="5597"/>
                  <a:pt x="1655" y="5382"/>
                  <a:pt x="1572" y="5168"/>
                </a:cubicBezTo>
                <a:cubicBezTo>
                  <a:pt x="1560" y="5109"/>
                  <a:pt x="1501" y="5049"/>
                  <a:pt x="1441" y="5037"/>
                </a:cubicBezTo>
                <a:lnTo>
                  <a:pt x="489" y="4847"/>
                </a:lnTo>
                <a:cubicBezTo>
                  <a:pt x="393" y="4823"/>
                  <a:pt x="322" y="4739"/>
                  <a:pt x="322" y="4644"/>
                </a:cubicBezTo>
                <a:lnTo>
                  <a:pt x="322" y="4132"/>
                </a:lnTo>
                <a:cubicBezTo>
                  <a:pt x="322" y="4037"/>
                  <a:pt x="393" y="3954"/>
                  <a:pt x="489" y="3930"/>
                </a:cubicBezTo>
                <a:lnTo>
                  <a:pt x="1441" y="3739"/>
                </a:lnTo>
                <a:cubicBezTo>
                  <a:pt x="1501" y="3727"/>
                  <a:pt x="1560" y="3680"/>
                  <a:pt x="1572" y="3608"/>
                </a:cubicBezTo>
                <a:cubicBezTo>
                  <a:pt x="1632" y="3382"/>
                  <a:pt x="1727" y="3180"/>
                  <a:pt x="1846" y="2977"/>
                </a:cubicBezTo>
                <a:cubicBezTo>
                  <a:pt x="1870" y="2918"/>
                  <a:pt x="1870" y="2846"/>
                  <a:pt x="1846" y="2787"/>
                </a:cubicBezTo>
                <a:lnTo>
                  <a:pt x="1310" y="1989"/>
                </a:lnTo>
                <a:cubicBezTo>
                  <a:pt x="1251" y="1906"/>
                  <a:pt x="1263" y="1787"/>
                  <a:pt x="1334" y="1727"/>
                </a:cubicBezTo>
                <a:lnTo>
                  <a:pt x="1715" y="1358"/>
                </a:lnTo>
                <a:cubicBezTo>
                  <a:pt x="1754" y="1319"/>
                  <a:pt x="1804" y="1301"/>
                  <a:pt x="1854" y="1301"/>
                </a:cubicBezTo>
                <a:cubicBezTo>
                  <a:pt x="1894" y="1301"/>
                  <a:pt x="1933" y="1313"/>
                  <a:pt x="1965" y="1334"/>
                </a:cubicBezTo>
                <a:lnTo>
                  <a:pt x="2763" y="1870"/>
                </a:lnTo>
                <a:cubicBezTo>
                  <a:pt x="2792" y="1888"/>
                  <a:pt x="2828" y="1897"/>
                  <a:pt x="2864" y="1897"/>
                </a:cubicBezTo>
                <a:cubicBezTo>
                  <a:pt x="2900" y="1897"/>
                  <a:pt x="2935" y="1888"/>
                  <a:pt x="2965" y="1870"/>
                </a:cubicBezTo>
                <a:cubicBezTo>
                  <a:pt x="3156" y="1751"/>
                  <a:pt x="3382" y="1668"/>
                  <a:pt x="3584" y="1596"/>
                </a:cubicBezTo>
                <a:cubicBezTo>
                  <a:pt x="3644" y="1584"/>
                  <a:pt x="3703" y="1525"/>
                  <a:pt x="3715" y="1465"/>
                </a:cubicBezTo>
                <a:lnTo>
                  <a:pt x="3918" y="513"/>
                </a:lnTo>
                <a:cubicBezTo>
                  <a:pt x="3930" y="417"/>
                  <a:pt x="4013" y="346"/>
                  <a:pt x="4108" y="346"/>
                </a:cubicBezTo>
                <a:lnTo>
                  <a:pt x="4632" y="346"/>
                </a:lnTo>
                <a:cubicBezTo>
                  <a:pt x="4715" y="346"/>
                  <a:pt x="4811" y="417"/>
                  <a:pt x="4823" y="513"/>
                </a:cubicBezTo>
                <a:lnTo>
                  <a:pt x="5013" y="1465"/>
                </a:lnTo>
                <a:cubicBezTo>
                  <a:pt x="5025" y="1525"/>
                  <a:pt x="5073" y="1584"/>
                  <a:pt x="5144" y="1596"/>
                </a:cubicBezTo>
                <a:cubicBezTo>
                  <a:pt x="5370" y="1656"/>
                  <a:pt x="5585" y="1751"/>
                  <a:pt x="5775" y="1870"/>
                </a:cubicBezTo>
                <a:cubicBezTo>
                  <a:pt x="5805" y="1882"/>
                  <a:pt x="5838" y="1888"/>
                  <a:pt x="5870" y="1888"/>
                </a:cubicBezTo>
                <a:cubicBezTo>
                  <a:pt x="5903" y="1888"/>
                  <a:pt x="5936" y="1882"/>
                  <a:pt x="5966" y="1870"/>
                </a:cubicBezTo>
                <a:lnTo>
                  <a:pt x="6775" y="1334"/>
                </a:lnTo>
                <a:cubicBezTo>
                  <a:pt x="6806" y="1309"/>
                  <a:pt x="6846" y="1296"/>
                  <a:pt x="6886" y="1296"/>
                </a:cubicBezTo>
                <a:cubicBezTo>
                  <a:pt x="6938" y="1296"/>
                  <a:pt x="6991" y="1317"/>
                  <a:pt x="7025" y="1358"/>
                </a:cubicBezTo>
                <a:lnTo>
                  <a:pt x="7394" y="1727"/>
                </a:lnTo>
                <a:cubicBezTo>
                  <a:pt x="7466" y="1810"/>
                  <a:pt x="7466" y="1906"/>
                  <a:pt x="7430" y="1989"/>
                </a:cubicBezTo>
                <a:lnTo>
                  <a:pt x="6894" y="2787"/>
                </a:lnTo>
                <a:cubicBezTo>
                  <a:pt x="6847" y="2846"/>
                  <a:pt x="6847" y="2918"/>
                  <a:pt x="6894" y="2977"/>
                </a:cubicBezTo>
                <a:cubicBezTo>
                  <a:pt x="7013" y="3180"/>
                  <a:pt x="7085" y="3394"/>
                  <a:pt x="7156" y="3608"/>
                </a:cubicBezTo>
                <a:cubicBezTo>
                  <a:pt x="7168" y="3668"/>
                  <a:pt x="7228" y="3727"/>
                  <a:pt x="7287" y="3739"/>
                </a:cubicBezTo>
                <a:lnTo>
                  <a:pt x="8240" y="3930"/>
                </a:lnTo>
                <a:cubicBezTo>
                  <a:pt x="8335" y="3954"/>
                  <a:pt x="8406" y="4037"/>
                  <a:pt x="8406" y="4132"/>
                </a:cubicBezTo>
                <a:lnTo>
                  <a:pt x="8406" y="4644"/>
                </a:lnTo>
                <a:cubicBezTo>
                  <a:pt x="8406" y="4739"/>
                  <a:pt x="8335" y="4823"/>
                  <a:pt x="8240" y="4847"/>
                </a:cubicBezTo>
                <a:lnTo>
                  <a:pt x="7287" y="5037"/>
                </a:lnTo>
                <a:cubicBezTo>
                  <a:pt x="7228" y="5049"/>
                  <a:pt x="7168" y="5097"/>
                  <a:pt x="7156" y="5168"/>
                </a:cubicBezTo>
                <a:cubicBezTo>
                  <a:pt x="7109" y="5335"/>
                  <a:pt x="7049" y="5478"/>
                  <a:pt x="6978" y="5632"/>
                </a:cubicBezTo>
                <a:cubicBezTo>
                  <a:pt x="6930" y="5716"/>
                  <a:pt x="6978" y="5823"/>
                  <a:pt x="7073" y="5871"/>
                </a:cubicBezTo>
                <a:cubicBezTo>
                  <a:pt x="7095" y="5883"/>
                  <a:pt x="7119" y="5889"/>
                  <a:pt x="7143" y="5889"/>
                </a:cubicBezTo>
                <a:cubicBezTo>
                  <a:pt x="7209" y="5889"/>
                  <a:pt x="7276" y="5845"/>
                  <a:pt x="7311" y="5775"/>
                </a:cubicBezTo>
                <a:cubicBezTo>
                  <a:pt x="7370" y="5644"/>
                  <a:pt x="7430" y="5513"/>
                  <a:pt x="7466" y="5359"/>
                </a:cubicBezTo>
                <a:lnTo>
                  <a:pt x="8323" y="5204"/>
                </a:lnTo>
                <a:cubicBezTo>
                  <a:pt x="8585" y="5144"/>
                  <a:pt x="8763" y="4918"/>
                  <a:pt x="8763" y="4644"/>
                </a:cubicBezTo>
                <a:lnTo>
                  <a:pt x="8763" y="4132"/>
                </a:lnTo>
                <a:cubicBezTo>
                  <a:pt x="8763" y="3858"/>
                  <a:pt x="8573" y="3632"/>
                  <a:pt x="8323" y="3573"/>
                </a:cubicBezTo>
                <a:lnTo>
                  <a:pt x="7466" y="3406"/>
                </a:lnTo>
                <a:cubicBezTo>
                  <a:pt x="7406" y="3227"/>
                  <a:pt x="7347" y="3073"/>
                  <a:pt x="7263" y="2906"/>
                </a:cubicBezTo>
                <a:lnTo>
                  <a:pt x="7740" y="2191"/>
                </a:lnTo>
                <a:cubicBezTo>
                  <a:pt x="7882" y="1965"/>
                  <a:pt x="7859" y="1668"/>
                  <a:pt x="7668" y="1477"/>
                </a:cubicBezTo>
                <a:lnTo>
                  <a:pt x="7287" y="1108"/>
                </a:lnTo>
                <a:cubicBezTo>
                  <a:pt x="7177" y="998"/>
                  <a:pt x="7032" y="940"/>
                  <a:pt x="6885" y="940"/>
                </a:cubicBezTo>
                <a:cubicBezTo>
                  <a:pt x="6777" y="940"/>
                  <a:pt x="6668" y="971"/>
                  <a:pt x="6573" y="1037"/>
                </a:cubicBezTo>
                <a:lnTo>
                  <a:pt x="5858" y="1513"/>
                </a:lnTo>
                <a:cubicBezTo>
                  <a:pt x="5704" y="1418"/>
                  <a:pt x="5537" y="1358"/>
                  <a:pt x="5358" y="1299"/>
                </a:cubicBezTo>
                <a:lnTo>
                  <a:pt x="5192" y="453"/>
                </a:lnTo>
                <a:cubicBezTo>
                  <a:pt x="5132" y="179"/>
                  <a:pt x="4906" y="1"/>
                  <a:pt x="4644"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60" name="Google Shape;160;p22"/>
          <p:cNvSpPr/>
          <p:nvPr/>
        </p:nvSpPr>
        <p:spPr>
          <a:xfrm>
            <a:off x="8244110" y="3765772"/>
            <a:ext cx="149135" cy="129909"/>
          </a:xfrm>
          <a:custGeom>
            <a:avLst/>
            <a:gdLst/>
            <a:ahLst/>
            <a:cxnLst/>
            <a:rect l="l" t="t" r="r" b="b"/>
            <a:pathLst>
              <a:path w="3514" h="3061" extrusionOk="0">
                <a:moveTo>
                  <a:pt x="1489" y="1"/>
                </a:moveTo>
                <a:cubicBezTo>
                  <a:pt x="965" y="1"/>
                  <a:pt x="465" y="215"/>
                  <a:pt x="84" y="584"/>
                </a:cubicBezTo>
                <a:cubicBezTo>
                  <a:pt x="1" y="656"/>
                  <a:pt x="1" y="763"/>
                  <a:pt x="84" y="834"/>
                </a:cubicBezTo>
                <a:cubicBezTo>
                  <a:pt x="120" y="870"/>
                  <a:pt x="164" y="888"/>
                  <a:pt x="209" y="888"/>
                </a:cubicBezTo>
                <a:cubicBezTo>
                  <a:pt x="254" y="888"/>
                  <a:pt x="298" y="870"/>
                  <a:pt x="334" y="834"/>
                </a:cubicBezTo>
                <a:cubicBezTo>
                  <a:pt x="644" y="537"/>
                  <a:pt x="1060" y="358"/>
                  <a:pt x="1489" y="358"/>
                </a:cubicBezTo>
                <a:cubicBezTo>
                  <a:pt x="2418" y="358"/>
                  <a:pt x="3168" y="1108"/>
                  <a:pt x="3168" y="2025"/>
                </a:cubicBezTo>
                <a:cubicBezTo>
                  <a:pt x="3168" y="2299"/>
                  <a:pt x="3096" y="2549"/>
                  <a:pt x="2989" y="2787"/>
                </a:cubicBezTo>
                <a:cubicBezTo>
                  <a:pt x="2930" y="2894"/>
                  <a:pt x="2953" y="2989"/>
                  <a:pt x="3049" y="3037"/>
                </a:cubicBezTo>
                <a:cubicBezTo>
                  <a:pt x="3073" y="3061"/>
                  <a:pt x="3108" y="3061"/>
                  <a:pt x="3132" y="3061"/>
                </a:cubicBezTo>
                <a:cubicBezTo>
                  <a:pt x="3192" y="3061"/>
                  <a:pt x="3263" y="3025"/>
                  <a:pt x="3299" y="2954"/>
                </a:cubicBezTo>
                <a:cubicBezTo>
                  <a:pt x="3442" y="2668"/>
                  <a:pt x="3513" y="2358"/>
                  <a:pt x="3513" y="2025"/>
                </a:cubicBezTo>
                <a:cubicBezTo>
                  <a:pt x="3513" y="906"/>
                  <a:pt x="2608" y="1"/>
                  <a:pt x="1489"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61" name="Google Shape;161;p22"/>
          <p:cNvSpPr/>
          <p:nvPr/>
        </p:nvSpPr>
        <p:spPr>
          <a:xfrm>
            <a:off x="8221871" y="3819331"/>
            <a:ext cx="140519" cy="118323"/>
          </a:xfrm>
          <a:custGeom>
            <a:avLst/>
            <a:gdLst/>
            <a:ahLst/>
            <a:cxnLst/>
            <a:rect l="l" t="t" r="r" b="b"/>
            <a:pathLst>
              <a:path w="3311" h="2788" extrusionOk="0">
                <a:moveTo>
                  <a:pt x="262" y="1"/>
                </a:moveTo>
                <a:cubicBezTo>
                  <a:pt x="194" y="1"/>
                  <a:pt x="124" y="44"/>
                  <a:pt x="96" y="108"/>
                </a:cubicBezTo>
                <a:cubicBezTo>
                  <a:pt x="25" y="323"/>
                  <a:pt x="1" y="549"/>
                  <a:pt x="1" y="763"/>
                </a:cubicBezTo>
                <a:cubicBezTo>
                  <a:pt x="1" y="1882"/>
                  <a:pt x="906" y="2787"/>
                  <a:pt x="2013" y="2787"/>
                </a:cubicBezTo>
                <a:cubicBezTo>
                  <a:pt x="2454" y="2787"/>
                  <a:pt x="2846" y="2656"/>
                  <a:pt x="3204" y="2406"/>
                </a:cubicBezTo>
                <a:cubicBezTo>
                  <a:pt x="3287" y="2347"/>
                  <a:pt x="3311" y="2239"/>
                  <a:pt x="3251" y="2156"/>
                </a:cubicBezTo>
                <a:cubicBezTo>
                  <a:pt x="3214" y="2104"/>
                  <a:pt x="3159" y="2075"/>
                  <a:pt x="3102" y="2075"/>
                </a:cubicBezTo>
                <a:cubicBezTo>
                  <a:pt x="3068" y="2075"/>
                  <a:pt x="3033" y="2086"/>
                  <a:pt x="3001" y="2108"/>
                </a:cubicBezTo>
                <a:cubicBezTo>
                  <a:pt x="2715" y="2311"/>
                  <a:pt x="2370" y="2418"/>
                  <a:pt x="2037" y="2418"/>
                </a:cubicBezTo>
                <a:cubicBezTo>
                  <a:pt x="1108" y="2418"/>
                  <a:pt x="370" y="1680"/>
                  <a:pt x="370" y="751"/>
                </a:cubicBezTo>
                <a:cubicBezTo>
                  <a:pt x="370" y="573"/>
                  <a:pt x="394" y="382"/>
                  <a:pt x="453" y="215"/>
                </a:cubicBezTo>
                <a:cubicBezTo>
                  <a:pt x="477" y="144"/>
                  <a:pt x="406" y="37"/>
                  <a:pt x="322" y="13"/>
                </a:cubicBezTo>
                <a:cubicBezTo>
                  <a:pt x="303" y="5"/>
                  <a:pt x="283" y="1"/>
                  <a:pt x="262"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62" name="Google Shape;162;p22"/>
          <p:cNvSpPr/>
          <p:nvPr/>
        </p:nvSpPr>
        <p:spPr>
          <a:xfrm>
            <a:off x="8356277" y="3901198"/>
            <a:ext cx="248147" cy="249165"/>
          </a:xfrm>
          <a:custGeom>
            <a:avLst/>
            <a:gdLst/>
            <a:ahLst/>
            <a:cxnLst/>
            <a:rect l="l" t="t" r="r" b="b"/>
            <a:pathLst>
              <a:path w="5847" h="5871" extrusionOk="0">
                <a:moveTo>
                  <a:pt x="2751" y="1"/>
                </a:moveTo>
                <a:cubicBezTo>
                  <a:pt x="2549" y="1"/>
                  <a:pt x="2370" y="144"/>
                  <a:pt x="2335" y="346"/>
                </a:cubicBezTo>
                <a:lnTo>
                  <a:pt x="2227" y="858"/>
                </a:lnTo>
                <a:cubicBezTo>
                  <a:pt x="2144" y="894"/>
                  <a:pt x="2037" y="941"/>
                  <a:pt x="1965" y="977"/>
                </a:cubicBezTo>
                <a:lnTo>
                  <a:pt x="1513" y="680"/>
                </a:lnTo>
                <a:cubicBezTo>
                  <a:pt x="1449" y="631"/>
                  <a:pt x="1372" y="608"/>
                  <a:pt x="1293" y="608"/>
                </a:cubicBezTo>
                <a:cubicBezTo>
                  <a:pt x="1179" y="608"/>
                  <a:pt x="1061" y="655"/>
                  <a:pt x="977" y="739"/>
                </a:cubicBezTo>
                <a:lnTo>
                  <a:pt x="739" y="977"/>
                </a:lnTo>
                <a:cubicBezTo>
                  <a:pt x="596" y="1132"/>
                  <a:pt x="584" y="1346"/>
                  <a:pt x="680" y="1513"/>
                </a:cubicBezTo>
                <a:lnTo>
                  <a:pt x="977" y="1965"/>
                </a:lnTo>
                <a:cubicBezTo>
                  <a:pt x="918" y="2084"/>
                  <a:pt x="882" y="2215"/>
                  <a:pt x="834" y="2346"/>
                </a:cubicBezTo>
                <a:cubicBezTo>
                  <a:pt x="799" y="2442"/>
                  <a:pt x="858" y="2537"/>
                  <a:pt x="953" y="2573"/>
                </a:cubicBezTo>
                <a:cubicBezTo>
                  <a:pt x="968" y="2579"/>
                  <a:pt x="984" y="2582"/>
                  <a:pt x="1000" y="2582"/>
                </a:cubicBezTo>
                <a:cubicBezTo>
                  <a:pt x="1073" y="2582"/>
                  <a:pt x="1150" y="2522"/>
                  <a:pt x="1180" y="2454"/>
                </a:cubicBezTo>
                <a:cubicBezTo>
                  <a:pt x="1215" y="2323"/>
                  <a:pt x="1263" y="2192"/>
                  <a:pt x="1334" y="2049"/>
                </a:cubicBezTo>
                <a:cubicBezTo>
                  <a:pt x="1370" y="1989"/>
                  <a:pt x="1370" y="1918"/>
                  <a:pt x="1334" y="1858"/>
                </a:cubicBezTo>
                <a:lnTo>
                  <a:pt x="977" y="1322"/>
                </a:lnTo>
                <a:cubicBezTo>
                  <a:pt x="965" y="1287"/>
                  <a:pt x="965" y="1263"/>
                  <a:pt x="1001" y="1239"/>
                </a:cubicBezTo>
                <a:lnTo>
                  <a:pt x="1239" y="989"/>
                </a:lnTo>
                <a:cubicBezTo>
                  <a:pt x="1253" y="975"/>
                  <a:pt x="1271" y="969"/>
                  <a:pt x="1288" y="969"/>
                </a:cubicBezTo>
                <a:cubicBezTo>
                  <a:pt x="1301" y="969"/>
                  <a:pt x="1313" y="972"/>
                  <a:pt x="1322" y="977"/>
                </a:cubicBezTo>
                <a:lnTo>
                  <a:pt x="1858" y="1334"/>
                </a:lnTo>
                <a:cubicBezTo>
                  <a:pt x="1888" y="1358"/>
                  <a:pt x="1921" y="1370"/>
                  <a:pt x="1954" y="1370"/>
                </a:cubicBezTo>
                <a:cubicBezTo>
                  <a:pt x="1986" y="1370"/>
                  <a:pt x="2019" y="1358"/>
                  <a:pt x="2049" y="1334"/>
                </a:cubicBezTo>
                <a:cubicBezTo>
                  <a:pt x="2168" y="1263"/>
                  <a:pt x="2323" y="1203"/>
                  <a:pt x="2454" y="1168"/>
                </a:cubicBezTo>
                <a:cubicBezTo>
                  <a:pt x="2513" y="1156"/>
                  <a:pt x="2573" y="1096"/>
                  <a:pt x="2585" y="1037"/>
                </a:cubicBezTo>
                <a:lnTo>
                  <a:pt x="2704" y="418"/>
                </a:lnTo>
                <a:cubicBezTo>
                  <a:pt x="2704" y="382"/>
                  <a:pt x="2739" y="358"/>
                  <a:pt x="2775" y="358"/>
                </a:cubicBezTo>
                <a:lnTo>
                  <a:pt x="3120" y="358"/>
                </a:lnTo>
                <a:cubicBezTo>
                  <a:pt x="3156" y="358"/>
                  <a:pt x="3180" y="382"/>
                  <a:pt x="3192" y="418"/>
                </a:cubicBezTo>
                <a:lnTo>
                  <a:pt x="3311" y="1037"/>
                </a:lnTo>
                <a:cubicBezTo>
                  <a:pt x="3335" y="1096"/>
                  <a:pt x="3370" y="1156"/>
                  <a:pt x="3454" y="1168"/>
                </a:cubicBezTo>
                <a:cubicBezTo>
                  <a:pt x="3585" y="1215"/>
                  <a:pt x="3716" y="1263"/>
                  <a:pt x="3847" y="1334"/>
                </a:cubicBezTo>
                <a:cubicBezTo>
                  <a:pt x="3882" y="1352"/>
                  <a:pt x="3918" y="1361"/>
                  <a:pt x="3952" y="1361"/>
                </a:cubicBezTo>
                <a:cubicBezTo>
                  <a:pt x="3987" y="1361"/>
                  <a:pt x="4019" y="1352"/>
                  <a:pt x="4049" y="1334"/>
                </a:cubicBezTo>
                <a:lnTo>
                  <a:pt x="4585" y="977"/>
                </a:lnTo>
                <a:cubicBezTo>
                  <a:pt x="4595" y="972"/>
                  <a:pt x="4607" y="969"/>
                  <a:pt x="4619" y="969"/>
                </a:cubicBezTo>
                <a:cubicBezTo>
                  <a:pt x="4636" y="969"/>
                  <a:pt x="4654" y="975"/>
                  <a:pt x="4668" y="989"/>
                </a:cubicBezTo>
                <a:lnTo>
                  <a:pt x="4906" y="1239"/>
                </a:lnTo>
                <a:cubicBezTo>
                  <a:pt x="4942" y="1263"/>
                  <a:pt x="4942" y="1287"/>
                  <a:pt x="4918" y="1322"/>
                </a:cubicBezTo>
                <a:lnTo>
                  <a:pt x="4561" y="1858"/>
                </a:lnTo>
                <a:cubicBezTo>
                  <a:pt x="4525" y="1918"/>
                  <a:pt x="4525" y="1989"/>
                  <a:pt x="4561" y="2049"/>
                </a:cubicBezTo>
                <a:cubicBezTo>
                  <a:pt x="4644" y="2168"/>
                  <a:pt x="4704" y="2323"/>
                  <a:pt x="4728" y="2454"/>
                </a:cubicBezTo>
                <a:cubicBezTo>
                  <a:pt x="4740" y="2513"/>
                  <a:pt x="4799" y="2573"/>
                  <a:pt x="4859" y="2585"/>
                </a:cubicBezTo>
                <a:lnTo>
                  <a:pt x="5490" y="2704"/>
                </a:lnTo>
                <a:cubicBezTo>
                  <a:pt x="5513" y="2704"/>
                  <a:pt x="5549" y="2739"/>
                  <a:pt x="5549" y="2775"/>
                </a:cubicBezTo>
                <a:lnTo>
                  <a:pt x="5549" y="3120"/>
                </a:lnTo>
                <a:cubicBezTo>
                  <a:pt x="5549" y="3156"/>
                  <a:pt x="5513" y="3180"/>
                  <a:pt x="5490" y="3192"/>
                </a:cubicBezTo>
                <a:lnTo>
                  <a:pt x="4859" y="3311"/>
                </a:lnTo>
                <a:cubicBezTo>
                  <a:pt x="4799" y="3335"/>
                  <a:pt x="4740" y="3370"/>
                  <a:pt x="4728" y="3454"/>
                </a:cubicBezTo>
                <a:cubicBezTo>
                  <a:pt x="4680" y="3585"/>
                  <a:pt x="4644" y="3716"/>
                  <a:pt x="4561" y="3847"/>
                </a:cubicBezTo>
                <a:cubicBezTo>
                  <a:pt x="4537" y="3906"/>
                  <a:pt x="4537" y="3989"/>
                  <a:pt x="4561" y="4049"/>
                </a:cubicBezTo>
                <a:lnTo>
                  <a:pt x="4918" y="4585"/>
                </a:lnTo>
                <a:cubicBezTo>
                  <a:pt x="4942" y="4609"/>
                  <a:pt x="4942" y="4644"/>
                  <a:pt x="4906" y="4668"/>
                </a:cubicBezTo>
                <a:lnTo>
                  <a:pt x="4668" y="4906"/>
                </a:lnTo>
                <a:cubicBezTo>
                  <a:pt x="4655" y="4926"/>
                  <a:pt x="4638" y="4935"/>
                  <a:pt x="4622" y="4935"/>
                </a:cubicBezTo>
                <a:cubicBezTo>
                  <a:pt x="4609" y="4935"/>
                  <a:pt x="4595" y="4929"/>
                  <a:pt x="4585" y="4918"/>
                </a:cubicBezTo>
                <a:lnTo>
                  <a:pt x="4049" y="4561"/>
                </a:lnTo>
                <a:cubicBezTo>
                  <a:pt x="4019" y="4543"/>
                  <a:pt x="3984" y="4534"/>
                  <a:pt x="3948" y="4534"/>
                </a:cubicBezTo>
                <a:cubicBezTo>
                  <a:pt x="3912" y="4534"/>
                  <a:pt x="3876" y="4543"/>
                  <a:pt x="3847" y="4561"/>
                </a:cubicBezTo>
                <a:cubicBezTo>
                  <a:pt x="3728" y="4644"/>
                  <a:pt x="3585" y="4704"/>
                  <a:pt x="3454" y="4728"/>
                </a:cubicBezTo>
                <a:cubicBezTo>
                  <a:pt x="3394" y="4751"/>
                  <a:pt x="3335" y="4811"/>
                  <a:pt x="3311" y="4859"/>
                </a:cubicBezTo>
                <a:lnTo>
                  <a:pt x="3192" y="5490"/>
                </a:lnTo>
                <a:cubicBezTo>
                  <a:pt x="3192" y="5525"/>
                  <a:pt x="3168" y="5549"/>
                  <a:pt x="3120" y="5549"/>
                </a:cubicBezTo>
                <a:lnTo>
                  <a:pt x="2775" y="5549"/>
                </a:lnTo>
                <a:cubicBezTo>
                  <a:pt x="2751" y="5549"/>
                  <a:pt x="2716" y="5513"/>
                  <a:pt x="2704" y="5490"/>
                </a:cubicBezTo>
                <a:lnTo>
                  <a:pt x="2585" y="4859"/>
                </a:lnTo>
                <a:cubicBezTo>
                  <a:pt x="2573" y="4811"/>
                  <a:pt x="2525" y="4751"/>
                  <a:pt x="2454" y="4728"/>
                </a:cubicBezTo>
                <a:cubicBezTo>
                  <a:pt x="2323" y="4692"/>
                  <a:pt x="2180" y="4644"/>
                  <a:pt x="2049" y="4561"/>
                </a:cubicBezTo>
                <a:cubicBezTo>
                  <a:pt x="2019" y="4549"/>
                  <a:pt x="1986" y="4543"/>
                  <a:pt x="1954" y="4543"/>
                </a:cubicBezTo>
                <a:cubicBezTo>
                  <a:pt x="1921" y="4543"/>
                  <a:pt x="1888" y="4549"/>
                  <a:pt x="1858" y="4561"/>
                </a:cubicBezTo>
                <a:lnTo>
                  <a:pt x="1322" y="4918"/>
                </a:lnTo>
                <a:cubicBezTo>
                  <a:pt x="1306" y="4929"/>
                  <a:pt x="1293" y="4935"/>
                  <a:pt x="1280" y="4935"/>
                </a:cubicBezTo>
                <a:cubicBezTo>
                  <a:pt x="1265" y="4935"/>
                  <a:pt x="1252" y="4926"/>
                  <a:pt x="1239" y="4906"/>
                </a:cubicBezTo>
                <a:lnTo>
                  <a:pt x="1001" y="4668"/>
                </a:lnTo>
                <a:cubicBezTo>
                  <a:pt x="965" y="4644"/>
                  <a:pt x="965" y="4609"/>
                  <a:pt x="977" y="4585"/>
                </a:cubicBezTo>
                <a:lnTo>
                  <a:pt x="1334" y="4049"/>
                </a:lnTo>
                <a:cubicBezTo>
                  <a:pt x="1382" y="3989"/>
                  <a:pt x="1382" y="3906"/>
                  <a:pt x="1334" y="3847"/>
                </a:cubicBezTo>
                <a:cubicBezTo>
                  <a:pt x="1263" y="3728"/>
                  <a:pt x="1203" y="3585"/>
                  <a:pt x="1180" y="3454"/>
                </a:cubicBezTo>
                <a:cubicBezTo>
                  <a:pt x="1156" y="3394"/>
                  <a:pt x="1096" y="3335"/>
                  <a:pt x="1037" y="3311"/>
                </a:cubicBezTo>
                <a:lnTo>
                  <a:pt x="418" y="3192"/>
                </a:lnTo>
                <a:cubicBezTo>
                  <a:pt x="382" y="3192"/>
                  <a:pt x="358" y="3168"/>
                  <a:pt x="358" y="3120"/>
                </a:cubicBezTo>
                <a:lnTo>
                  <a:pt x="358" y="2775"/>
                </a:lnTo>
                <a:cubicBezTo>
                  <a:pt x="358" y="2751"/>
                  <a:pt x="382" y="2727"/>
                  <a:pt x="418" y="2704"/>
                </a:cubicBezTo>
                <a:lnTo>
                  <a:pt x="465" y="2692"/>
                </a:lnTo>
                <a:cubicBezTo>
                  <a:pt x="560" y="2680"/>
                  <a:pt x="620" y="2573"/>
                  <a:pt x="596" y="2477"/>
                </a:cubicBezTo>
                <a:cubicBezTo>
                  <a:pt x="586" y="2396"/>
                  <a:pt x="507" y="2341"/>
                  <a:pt x="425" y="2341"/>
                </a:cubicBezTo>
                <a:cubicBezTo>
                  <a:pt x="411" y="2341"/>
                  <a:pt x="396" y="2343"/>
                  <a:pt x="382" y="2346"/>
                </a:cubicBezTo>
                <a:lnTo>
                  <a:pt x="346" y="2370"/>
                </a:lnTo>
                <a:cubicBezTo>
                  <a:pt x="144" y="2406"/>
                  <a:pt x="1" y="2585"/>
                  <a:pt x="1" y="2775"/>
                </a:cubicBezTo>
                <a:lnTo>
                  <a:pt x="1" y="3120"/>
                </a:lnTo>
                <a:cubicBezTo>
                  <a:pt x="1" y="3335"/>
                  <a:pt x="144" y="3513"/>
                  <a:pt x="346" y="3537"/>
                </a:cubicBezTo>
                <a:lnTo>
                  <a:pt x="858" y="3644"/>
                </a:lnTo>
                <a:cubicBezTo>
                  <a:pt x="894" y="3728"/>
                  <a:pt x="941" y="3835"/>
                  <a:pt x="977" y="3906"/>
                </a:cubicBezTo>
                <a:lnTo>
                  <a:pt x="680" y="4359"/>
                </a:lnTo>
                <a:cubicBezTo>
                  <a:pt x="560" y="4525"/>
                  <a:pt x="596" y="4763"/>
                  <a:pt x="739" y="4894"/>
                </a:cubicBezTo>
                <a:lnTo>
                  <a:pt x="977" y="5132"/>
                </a:lnTo>
                <a:cubicBezTo>
                  <a:pt x="1067" y="5216"/>
                  <a:pt x="1182" y="5259"/>
                  <a:pt x="1292" y="5259"/>
                </a:cubicBezTo>
                <a:cubicBezTo>
                  <a:pt x="1371" y="5259"/>
                  <a:pt x="1448" y="5237"/>
                  <a:pt x="1513" y="5192"/>
                </a:cubicBezTo>
                <a:lnTo>
                  <a:pt x="1965" y="4894"/>
                </a:lnTo>
                <a:cubicBezTo>
                  <a:pt x="2049" y="4942"/>
                  <a:pt x="2144" y="4978"/>
                  <a:pt x="2227" y="5013"/>
                </a:cubicBezTo>
                <a:lnTo>
                  <a:pt x="2335" y="5537"/>
                </a:lnTo>
                <a:cubicBezTo>
                  <a:pt x="2382" y="5728"/>
                  <a:pt x="2561" y="5871"/>
                  <a:pt x="2751" y="5871"/>
                </a:cubicBezTo>
                <a:lnTo>
                  <a:pt x="3097" y="5871"/>
                </a:lnTo>
                <a:cubicBezTo>
                  <a:pt x="3299" y="5871"/>
                  <a:pt x="3478" y="5728"/>
                  <a:pt x="3513" y="5537"/>
                </a:cubicBezTo>
                <a:lnTo>
                  <a:pt x="3620" y="5013"/>
                </a:lnTo>
                <a:cubicBezTo>
                  <a:pt x="3704" y="4978"/>
                  <a:pt x="3811" y="4942"/>
                  <a:pt x="3882" y="4894"/>
                </a:cubicBezTo>
                <a:lnTo>
                  <a:pt x="4323" y="5192"/>
                </a:lnTo>
                <a:cubicBezTo>
                  <a:pt x="4391" y="5241"/>
                  <a:pt x="4472" y="5264"/>
                  <a:pt x="4552" y="5264"/>
                </a:cubicBezTo>
                <a:cubicBezTo>
                  <a:pt x="4667" y="5264"/>
                  <a:pt x="4781" y="5217"/>
                  <a:pt x="4859" y="5132"/>
                </a:cubicBezTo>
                <a:lnTo>
                  <a:pt x="5097" y="4894"/>
                </a:lnTo>
                <a:cubicBezTo>
                  <a:pt x="5252" y="4740"/>
                  <a:pt x="5263" y="4525"/>
                  <a:pt x="5156" y="4359"/>
                </a:cubicBezTo>
                <a:lnTo>
                  <a:pt x="4859" y="3906"/>
                </a:lnTo>
                <a:cubicBezTo>
                  <a:pt x="4906" y="3823"/>
                  <a:pt x="4954" y="3728"/>
                  <a:pt x="4978" y="3644"/>
                </a:cubicBezTo>
                <a:lnTo>
                  <a:pt x="5502" y="3537"/>
                </a:lnTo>
                <a:cubicBezTo>
                  <a:pt x="5692" y="3489"/>
                  <a:pt x="5847" y="3311"/>
                  <a:pt x="5847" y="3120"/>
                </a:cubicBezTo>
                <a:lnTo>
                  <a:pt x="5847" y="2775"/>
                </a:lnTo>
                <a:cubicBezTo>
                  <a:pt x="5847" y="2549"/>
                  <a:pt x="5716" y="2382"/>
                  <a:pt x="5502" y="2334"/>
                </a:cubicBezTo>
                <a:lnTo>
                  <a:pt x="4990" y="2227"/>
                </a:lnTo>
                <a:cubicBezTo>
                  <a:pt x="4954" y="2144"/>
                  <a:pt x="4906" y="2037"/>
                  <a:pt x="4871" y="1965"/>
                </a:cubicBezTo>
                <a:lnTo>
                  <a:pt x="5168" y="1513"/>
                </a:lnTo>
                <a:cubicBezTo>
                  <a:pt x="5287" y="1346"/>
                  <a:pt x="5252" y="1108"/>
                  <a:pt x="5109" y="977"/>
                </a:cubicBezTo>
                <a:lnTo>
                  <a:pt x="4871" y="739"/>
                </a:lnTo>
                <a:cubicBezTo>
                  <a:pt x="4780" y="656"/>
                  <a:pt x="4666" y="613"/>
                  <a:pt x="4555" y="613"/>
                </a:cubicBezTo>
                <a:cubicBezTo>
                  <a:pt x="4476" y="613"/>
                  <a:pt x="4399" y="635"/>
                  <a:pt x="4335" y="680"/>
                </a:cubicBezTo>
                <a:lnTo>
                  <a:pt x="3882" y="977"/>
                </a:lnTo>
                <a:cubicBezTo>
                  <a:pt x="3799" y="941"/>
                  <a:pt x="3704" y="894"/>
                  <a:pt x="3620" y="858"/>
                </a:cubicBezTo>
                <a:lnTo>
                  <a:pt x="3513" y="346"/>
                </a:lnTo>
                <a:cubicBezTo>
                  <a:pt x="3466" y="144"/>
                  <a:pt x="3287" y="1"/>
                  <a:pt x="3097"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63" name="Google Shape;163;p22"/>
          <p:cNvSpPr/>
          <p:nvPr/>
        </p:nvSpPr>
        <p:spPr>
          <a:xfrm>
            <a:off x="8436617" y="3982046"/>
            <a:ext cx="85984" cy="85941"/>
          </a:xfrm>
          <a:custGeom>
            <a:avLst/>
            <a:gdLst/>
            <a:ahLst/>
            <a:cxnLst/>
            <a:rect l="l" t="t" r="r" b="b"/>
            <a:pathLst>
              <a:path w="2026" h="2025" extrusionOk="0">
                <a:moveTo>
                  <a:pt x="1013" y="1"/>
                </a:moveTo>
                <a:cubicBezTo>
                  <a:pt x="453" y="1"/>
                  <a:pt x="1" y="441"/>
                  <a:pt x="1" y="1013"/>
                </a:cubicBezTo>
                <a:cubicBezTo>
                  <a:pt x="1" y="1561"/>
                  <a:pt x="442" y="2025"/>
                  <a:pt x="1013" y="2025"/>
                </a:cubicBezTo>
                <a:cubicBezTo>
                  <a:pt x="1227" y="2025"/>
                  <a:pt x="1442" y="1942"/>
                  <a:pt x="1620" y="1811"/>
                </a:cubicBezTo>
                <a:cubicBezTo>
                  <a:pt x="1692" y="1751"/>
                  <a:pt x="1704" y="1632"/>
                  <a:pt x="1644" y="1561"/>
                </a:cubicBezTo>
                <a:cubicBezTo>
                  <a:pt x="1608" y="1517"/>
                  <a:pt x="1549" y="1491"/>
                  <a:pt x="1493" y="1491"/>
                </a:cubicBezTo>
                <a:cubicBezTo>
                  <a:pt x="1457" y="1491"/>
                  <a:pt x="1422" y="1502"/>
                  <a:pt x="1394" y="1525"/>
                </a:cubicBezTo>
                <a:cubicBezTo>
                  <a:pt x="1275" y="1620"/>
                  <a:pt x="1144" y="1668"/>
                  <a:pt x="989" y="1668"/>
                </a:cubicBezTo>
                <a:cubicBezTo>
                  <a:pt x="632" y="1668"/>
                  <a:pt x="358" y="1370"/>
                  <a:pt x="358" y="1025"/>
                </a:cubicBezTo>
                <a:cubicBezTo>
                  <a:pt x="382" y="668"/>
                  <a:pt x="668" y="370"/>
                  <a:pt x="1025" y="370"/>
                </a:cubicBezTo>
                <a:cubicBezTo>
                  <a:pt x="1382" y="370"/>
                  <a:pt x="1668" y="668"/>
                  <a:pt x="1668" y="1013"/>
                </a:cubicBezTo>
                <a:cubicBezTo>
                  <a:pt x="1668" y="1120"/>
                  <a:pt x="1739" y="1191"/>
                  <a:pt x="1846" y="1191"/>
                </a:cubicBezTo>
                <a:cubicBezTo>
                  <a:pt x="1942" y="1191"/>
                  <a:pt x="2025" y="1120"/>
                  <a:pt x="2025" y="1013"/>
                </a:cubicBezTo>
                <a:cubicBezTo>
                  <a:pt x="2025" y="453"/>
                  <a:pt x="1573" y="1"/>
                  <a:pt x="1013"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64" name="Google Shape;164;p22"/>
          <p:cNvSpPr/>
          <p:nvPr/>
        </p:nvSpPr>
        <p:spPr>
          <a:xfrm>
            <a:off x="8260280" y="3805709"/>
            <a:ext cx="93537" cy="93537"/>
          </a:xfrm>
          <a:custGeom>
            <a:avLst/>
            <a:gdLst/>
            <a:ahLst/>
            <a:cxnLst/>
            <a:rect l="l" t="t" r="r" b="b"/>
            <a:pathLst>
              <a:path w="2204" h="2204" extrusionOk="0">
                <a:moveTo>
                  <a:pt x="1096" y="370"/>
                </a:moveTo>
                <a:cubicBezTo>
                  <a:pt x="1501" y="370"/>
                  <a:pt x="1834" y="703"/>
                  <a:pt x="1834" y="1108"/>
                </a:cubicBezTo>
                <a:cubicBezTo>
                  <a:pt x="1834" y="1501"/>
                  <a:pt x="1501" y="1834"/>
                  <a:pt x="1096" y="1834"/>
                </a:cubicBezTo>
                <a:cubicBezTo>
                  <a:pt x="691" y="1834"/>
                  <a:pt x="370" y="1501"/>
                  <a:pt x="370" y="1108"/>
                </a:cubicBezTo>
                <a:cubicBezTo>
                  <a:pt x="370" y="703"/>
                  <a:pt x="703" y="370"/>
                  <a:pt x="1096" y="370"/>
                </a:cubicBezTo>
                <a:close/>
                <a:moveTo>
                  <a:pt x="1096" y="1"/>
                </a:moveTo>
                <a:cubicBezTo>
                  <a:pt x="489" y="1"/>
                  <a:pt x="1" y="489"/>
                  <a:pt x="1" y="1108"/>
                </a:cubicBezTo>
                <a:cubicBezTo>
                  <a:pt x="1" y="1715"/>
                  <a:pt x="489" y="2203"/>
                  <a:pt x="1096" y="2203"/>
                </a:cubicBezTo>
                <a:cubicBezTo>
                  <a:pt x="1715" y="2191"/>
                  <a:pt x="2203" y="1703"/>
                  <a:pt x="2203" y="1108"/>
                </a:cubicBezTo>
                <a:cubicBezTo>
                  <a:pt x="2203" y="489"/>
                  <a:pt x="1715" y="1"/>
                  <a:pt x="1096"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grpSp>
        <p:nvGrpSpPr>
          <p:cNvPr id="165" name="Google Shape;165;p22"/>
          <p:cNvGrpSpPr/>
          <p:nvPr/>
        </p:nvGrpSpPr>
        <p:grpSpPr>
          <a:xfrm>
            <a:off x="1336149" y="3707575"/>
            <a:ext cx="459655" cy="399955"/>
            <a:chOff x="3716358" y="1544655"/>
            <a:chExt cx="361971" cy="314958"/>
          </a:xfrm>
        </p:grpSpPr>
        <p:sp>
          <p:nvSpPr>
            <p:cNvPr id="166" name="Google Shape;166;p22"/>
            <p:cNvSpPr/>
            <p:nvPr/>
          </p:nvSpPr>
          <p:spPr>
            <a:xfrm>
              <a:off x="3767509" y="1646957"/>
              <a:ext cx="231213" cy="10663"/>
            </a:xfrm>
            <a:custGeom>
              <a:avLst/>
              <a:gdLst/>
              <a:ahLst/>
              <a:cxnLst/>
              <a:rect l="l" t="t" r="r" b="b"/>
              <a:pathLst>
                <a:path w="7264" h="335" extrusionOk="0">
                  <a:moveTo>
                    <a:pt x="168" y="1"/>
                  </a:moveTo>
                  <a:cubicBezTo>
                    <a:pt x="72" y="1"/>
                    <a:pt x="1" y="72"/>
                    <a:pt x="1" y="167"/>
                  </a:cubicBezTo>
                  <a:cubicBezTo>
                    <a:pt x="1" y="263"/>
                    <a:pt x="72" y="334"/>
                    <a:pt x="168" y="334"/>
                  </a:cubicBezTo>
                  <a:lnTo>
                    <a:pt x="7097" y="334"/>
                  </a:lnTo>
                  <a:cubicBezTo>
                    <a:pt x="7192" y="334"/>
                    <a:pt x="7264" y="263"/>
                    <a:pt x="7264" y="167"/>
                  </a:cubicBezTo>
                  <a:cubicBezTo>
                    <a:pt x="7264" y="72"/>
                    <a:pt x="7192" y="1"/>
                    <a:pt x="7097"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67" name="Google Shape;167;p22"/>
            <p:cNvSpPr/>
            <p:nvPr/>
          </p:nvSpPr>
          <p:spPr>
            <a:xfrm>
              <a:off x="3767509" y="1618532"/>
              <a:ext cx="152020" cy="10663"/>
            </a:xfrm>
            <a:custGeom>
              <a:avLst/>
              <a:gdLst/>
              <a:ahLst/>
              <a:cxnLst/>
              <a:rect l="l" t="t" r="r" b="b"/>
              <a:pathLst>
                <a:path w="4776" h="335" extrusionOk="0">
                  <a:moveTo>
                    <a:pt x="168" y="1"/>
                  </a:moveTo>
                  <a:cubicBezTo>
                    <a:pt x="72" y="1"/>
                    <a:pt x="1" y="72"/>
                    <a:pt x="1" y="168"/>
                  </a:cubicBezTo>
                  <a:cubicBezTo>
                    <a:pt x="1" y="263"/>
                    <a:pt x="72" y="334"/>
                    <a:pt x="168" y="334"/>
                  </a:cubicBezTo>
                  <a:lnTo>
                    <a:pt x="4621" y="334"/>
                  </a:lnTo>
                  <a:cubicBezTo>
                    <a:pt x="4704" y="334"/>
                    <a:pt x="4775" y="263"/>
                    <a:pt x="4775" y="168"/>
                  </a:cubicBezTo>
                  <a:cubicBezTo>
                    <a:pt x="4775" y="72"/>
                    <a:pt x="4704" y="1"/>
                    <a:pt x="4621"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68" name="Google Shape;168;p22"/>
            <p:cNvSpPr/>
            <p:nvPr/>
          </p:nvSpPr>
          <p:spPr>
            <a:xfrm>
              <a:off x="3931624" y="1618532"/>
              <a:ext cx="67098" cy="10663"/>
            </a:xfrm>
            <a:custGeom>
              <a:avLst/>
              <a:gdLst/>
              <a:ahLst/>
              <a:cxnLst/>
              <a:rect l="l" t="t" r="r" b="b"/>
              <a:pathLst>
                <a:path w="2108" h="335" extrusionOk="0">
                  <a:moveTo>
                    <a:pt x="155" y="1"/>
                  </a:moveTo>
                  <a:cubicBezTo>
                    <a:pt x="72" y="1"/>
                    <a:pt x="0" y="72"/>
                    <a:pt x="0" y="168"/>
                  </a:cubicBezTo>
                  <a:cubicBezTo>
                    <a:pt x="0" y="263"/>
                    <a:pt x="72" y="334"/>
                    <a:pt x="155" y="334"/>
                  </a:cubicBezTo>
                  <a:lnTo>
                    <a:pt x="1941" y="334"/>
                  </a:lnTo>
                  <a:cubicBezTo>
                    <a:pt x="2036" y="334"/>
                    <a:pt x="2108" y="263"/>
                    <a:pt x="2108" y="168"/>
                  </a:cubicBezTo>
                  <a:cubicBezTo>
                    <a:pt x="2108" y="72"/>
                    <a:pt x="2036" y="1"/>
                    <a:pt x="1941"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69" name="Google Shape;169;p22"/>
            <p:cNvSpPr/>
            <p:nvPr/>
          </p:nvSpPr>
          <p:spPr>
            <a:xfrm>
              <a:off x="3767509" y="1590108"/>
              <a:ext cx="39087" cy="10663"/>
            </a:xfrm>
            <a:custGeom>
              <a:avLst/>
              <a:gdLst/>
              <a:ahLst/>
              <a:cxnLst/>
              <a:rect l="l" t="t" r="r" b="b"/>
              <a:pathLst>
                <a:path w="1228" h="335" extrusionOk="0">
                  <a:moveTo>
                    <a:pt x="168" y="1"/>
                  </a:moveTo>
                  <a:cubicBezTo>
                    <a:pt x="72" y="1"/>
                    <a:pt x="1" y="72"/>
                    <a:pt x="1" y="168"/>
                  </a:cubicBezTo>
                  <a:cubicBezTo>
                    <a:pt x="1" y="263"/>
                    <a:pt x="72" y="334"/>
                    <a:pt x="168" y="334"/>
                  </a:cubicBezTo>
                  <a:lnTo>
                    <a:pt x="1061" y="334"/>
                  </a:lnTo>
                  <a:cubicBezTo>
                    <a:pt x="1144" y="334"/>
                    <a:pt x="1227" y="263"/>
                    <a:pt x="1227" y="168"/>
                  </a:cubicBezTo>
                  <a:cubicBezTo>
                    <a:pt x="1227" y="72"/>
                    <a:pt x="1144" y="1"/>
                    <a:pt x="1061"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70" name="Google Shape;170;p22"/>
            <p:cNvSpPr/>
            <p:nvPr/>
          </p:nvSpPr>
          <p:spPr>
            <a:xfrm>
              <a:off x="3818309" y="1590108"/>
              <a:ext cx="180412" cy="10663"/>
            </a:xfrm>
            <a:custGeom>
              <a:avLst/>
              <a:gdLst/>
              <a:ahLst/>
              <a:cxnLst/>
              <a:rect l="l" t="t" r="r" b="b"/>
              <a:pathLst>
                <a:path w="5668" h="335" extrusionOk="0">
                  <a:moveTo>
                    <a:pt x="167" y="1"/>
                  </a:moveTo>
                  <a:cubicBezTo>
                    <a:pt x="72" y="1"/>
                    <a:pt x="0" y="72"/>
                    <a:pt x="0" y="168"/>
                  </a:cubicBezTo>
                  <a:cubicBezTo>
                    <a:pt x="0" y="263"/>
                    <a:pt x="72" y="334"/>
                    <a:pt x="167" y="334"/>
                  </a:cubicBezTo>
                  <a:lnTo>
                    <a:pt x="5501" y="334"/>
                  </a:lnTo>
                  <a:cubicBezTo>
                    <a:pt x="5596" y="334"/>
                    <a:pt x="5668" y="263"/>
                    <a:pt x="5668" y="168"/>
                  </a:cubicBezTo>
                  <a:cubicBezTo>
                    <a:pt x="5668" y="72"/>
                    <a:pt x="5596" y="1"/>
                    <a:pt x="5501"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grpSp>
          <p:nvGrpSpPr>
            <p:cNvPr id="171" name="Google Shape;171;p22"/>
            <p:cNvGrpSpPr/>
            <p:nvPr/>
          </p:nvGrpSpPr>
          <p:grpSpPr>
            <a:xfrm>
              <a:off x="3716358" y="1544655"/>
              <a:ext cx="361971" cy="314958"/>
              <a:chOff x="3716358" y="1544655"/>
              <a:chExt cx="361971" cy="314958"/>
            </a:xfrm>
          </p:grpSpPr>
          <p:sp>
            <p:nvSpPr>
              <p:cNvPr id="172" name="Google Shape;172;p22"/>
              <p:cNvSpPr/>
              <p:nvPr/>
            </p:nvSpPr>
            <p:spPr>
              <a:xfrm>
                <a:off x="3767509" y="1675381"/>
                <a:ext cx="84540" cy="10663"/>
              </a:xfrm>
              <a:custGeom>
                <a:avLst/>
                <a:gdLst/>
                <a:ahLst/>
                <a:cxnLst/>
                <a:rect l="l" t="t" r="r" b="b"/>
                <a:pathLst>
                  <a:path w="2656" h="335" extrusionOk="0">
                    <a:moveTo>
                      <a:pt x="168" y="1"/>
                    </a:moveTo>
                    <a:cubicBezTo>
                      <a:pt x="72" y="1"/>
                      <a:pt x="1" y="72"/>
                      <a:pt x="1" y="167"/>
                    </a:cubicBezTo>
                    <a:cubicBezTo>
                      <a:pt x="1" y="263"/>
                      <a:pt x="72" y="334"/>
                      <a:pt x="168" y="334"/>
                    </a:cubicBezTo>
                    <a:lnTo>
                      <a:pt x="2477" y="334"/>
                    </a:lnTo>
                    <a:cubicBezTo>
                      <a:pt x="2561" y="334"/>
                      <a:pt x="2632" y="263"/>
                      <a:pt x="2632" y="167"/>
                    </a:cubicBezTo>
                    <a:cubicBezTo>
                      <a:pt x="2656" y="72"/>
                      <a:pt x="2573" y="1"/>
                      <a:pt x="2477"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73" name="Google Shape;173;p22"/>
              <p:cNvSpPr/>
              <p:nvPr/>
            </p:nvSpPr>
            <p:spPr>
              <a:xfrm>
                <a:off x="3875158" y="1675381"/>
                <a:ext cx="123564" cy="10663"/>
              </a:xfrm>
              <a:custGeom>
                <a:avLst/>
                <a:gdLst/>
                <a:ahLst/>
                <a:cxnLst/>
                <a:rect l="l" t="t" r="r" b="b"/>
                <a:pathLst>
                  <a:path w="3882" h="335" extrusionOk="0">
                    <a:moveTo>
                      <a:pt x="167" y="1"/>
                    </a:moveTo>
                    <a:cubicBezTo>
                      <a:pt x="72" y="1"/>
                      <a:pt x="0" y="72"/>
                      <a:pt x="0" y="167"/>
                    </a:cubicBezTo>
                    <a:cubicBezTo>
                      <a:pt x="0" y="263"/>
                      <a:pt x="72" y="334"/>
                      <a:pt x="167" y="334"/>
                    </a:cubicBezTo>
                    <a:lnTo>
                      <a:pt x="3715" y="334"/>
                    </a:lnTo>
                    <a:cubicBezTo>
                      <a:pt x="3810" y="334"/>
                      <a:pt x="3882" y="263"/>
                      <a:pt x="3882" y="167"/>
                    </a:cubicBezTo>
                    <a:cubicBezTo>
                      <a:pt x="3882" y="72"/>
                      <a:pt x="3810" y="1"/>
                      <a:pt x="3715"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74" name="Google Shape;174;p22"/>
              <p:cNvSpPr/>
              <p:nvPr/>
            </p:nvSpPr>
            <p:spPr>
              <a:xfrm>
                <a:off x="3767509" y="1703423"/>
                <a:ext cx="174747" cy="10663"/>
              </a:xfrm>
              <a:custGeom>
                <a:avLst/>
                <a:gdLst/>
                <a:ahLst/>
                <a:cxnLst/>
                <a:rect l="l" t="t" r="r" b="b"/>
                <a:pathLst>
                  <a:path w="5490" h="335" extrusionOk="0">
                    <a:moveTo>
                      <a:pt x="168" y="1"/>
                    </a:moveTo>
                    <a:cubicBezTo>
                      <a:pt x="72" y="1"/>
                      <a:pt x="1" y="72"/>
                      <a:pt x="1" y="168"/>
                    </a:cubicBezTo>
                    <a:cubicBezTo>
                      <a:pt x="1" y="251"/>
                      <a:pt x="72" y="334"/>
                      <a:pt x="168" y="334"/>
                    </a:cubicBezTo>
                    <a:lnTo>
                      <a:pt x="5335" y="334"/>
                    </a:lnTo>
                    <a:cubicBezTo>
                      <a:pt x="5418" y="334"/>
                      <a:pt x="5490" y="251"/>
                      <a:pt x="5490" y="168"/>
                    </a:cubicBezTo>
                    <a:cubicBezTo>
                      <a:pt x="5490" y="72"/>
                      <a:pt x="5418" y="1"/>
                      <a:pt x="5335"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75" name="Google Shape;175;p22"/>
              <p:cNvSpPr/>
              <p:nvPr/>
            </p:nvSpPr>
            <p:spPr>
              <a:xfrm>
                <a:off x="3954351" y="1703423"/>
                <a:ext cx="44371" cy="10663"/>
              </a:xfrm>
              <a:custGeom>
                <a:avLst/>
                <a:gdLst/>
                <a:ahLst/>
                <a:cxnLst/>
                <a:rect l="l" t="t" r="r" b="b"/>
                <a:pathLst>
                  <a:path w="1394" h="335" extrusionOk="0">
                    <a:moveTo>
                      <a:pt x="155" y="1"/>
                    </a:moveTo>
                    <a:cubicBezTo>
                      <a:pt x="72" y="1"/>
                      <a:pt x="1" y="72"/>
                      <a:pt x="1" y="168"/>
                    </a:cubicBezTo>
                    <a:cubicBezTo>
                      <a:pt x="1" y="251"/>
                      <a:pt x="72" y="334"/>
                      <a:pt x="155" y="334"/>
                    </a:cubicBezTo>
                    <a:lnTo>
                      <a:pt x="1227" y="334"/>
                    </a:lnTo>
                    <a:cubicBezTo>
                      <a:pt x="1322" y="334"/>
                      <a:pt x="1394" y="251"/>
                      <a:pt x="1394" y="168"/>
                    </a:cubicBezTo>
                    <a:cubicBezTo>
                      <a:pt x="1394" y="72"/>
                      <a:pt x="1322" y="1"/>
                      <a:pt x="1227"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76" name="Google Shape;176;p22"/>
              <p:cNvSpPr/>
              <p:nvPr/>
            </p:nvSpPr>
            <p:spPr>
              <a:xfrm>
                <a:off x="3716358" y="1544655"/>
                <a:ext cx="361971" cy="314958"/>
              </a:xfrm>
              <a:custGeom>
                <a:avLst/>
                <a:gdLst/>
                <a:ahLst/>
                <a:cxnLst/>
                <a:rect l="l" t="t" r="r" b="b"/>
                <a:pathLst>
                  <a:path w="11372" h="9895" extrusionOk="0">
                    <a:moveTo>
                      <a:pt x="3513" y="6751"/>
                    </a:moveTo>
                    <a:lnTo>
                      <a:pt x="3346" y="7477"/>
                    </a:lnTo>
                    <a:lnTo>
                      <a:pt x="1953" y="7477"/>
                    </a:lnTo>
                    <a:lnTo>
                      <a:pt x="1953" y="7489"/>
                    </a:lnTo>
                    <a:cubicBezTo>
                      <a:pt x="1656" y="7489"/>
                      <a:pt x="1394" y="7251"/>
                      <a:pt x="1394" y="6941"/>
                    </a:cubicBezTo>
                    <a:lnTo>
                      <a:pt x="1394" y="6751"/>
                    </a:lnTo>
                    <a:close/>
                    <a:moveTo>
                      <a:pt x="9430" y="333"/>
                    </a:moveTo>
                    <a:cubicBezTo>
                      <a:pt x="9728" y="333"/>
                      <a:pt x="9990" y="572"/>
                      <a:pt x="9990" y="881"/>
                    </a:cubicBezTo>
                    <a:lnTo>
                      <a:pt x="9990" y="5870"/>
                    </a:lnTo>
                    <a:cubicBezTo>
                      <a:pt x="9990" y="6168"/>
                      <a:pt x="9752" y="6418"/>
                      <a:pt x="9430" y="6418"/>
                    </a:cubicBezTo>
                    <a:lnTo>
                      <a:pt x="6597" y="6418"/>
                    </a:lnTo>
                    <a:cubicBezTo>
                      <a:pt x="6561" y="6418"/>
                      <a:pt x="6537" y="6429"/>
                      <a:pt x="6501" y="6441"/>
                    </a:cubicBezTo>
                    <a:lnTo>
                      <a:pt x="3489" y="8501"/>
                    </a:lnTo>
                    <a:cubicBezTo>
                      <a:pt x="3465" y="8501"/>
                      <a:pt x="3465" y="8489"/>
                      <a:pt x="3465" y="8489"/>
                    </a:cubicBezTo>
                    <a:lnTo>
                      <a:pt x="3906" y="6608"/>
                    </a:lnTo>
                    <a:cubicBezTo>
                      <a:pt x="3918" y="6560"/>
                      <a:pt x="3906" y="6501"/>
                      <a:pt x="3870" y="6477"/>
                    </a:cubicBezTo>
                    <a:cubicBezTo>
                      <a:pt x="3834" y="6429"/>
                      <a:pt x="3799" y="6418"/>
                      <a:pt x="3739" y="6418"/>
                    </a:cubicBezTo>
                    <a:lnTo>
                      <a:pt x="894" y="6418"/>
                    </a:lnTo>
                    <a:cubicBezTo>
                      <a:pt x="596" y="6418"/>
                      <a:pt x="346" y="6179"/>
                      <a:pt x="346" y="5870"/>
                    </a:cubicBezTo>
                    <a:lnTo>
                      <a:pt x="346" y="881"/>
                    </a:lnTo>
                    <a:cubicBezTo>
                      <a:pt x="346" y="584"/>
                      <a:pt x="584" y="333"/>
                      <a:pt x="894" y="333"/>
                    </a:cubicBezTo>
                    <a:close/>
                    <a:moveTo>
                      <a:pt x="10502" y="1405"/>
                    </a:moveTo>
                    <a:cubicBezTo>
                      <a:pt x="10800" y="1405"/>
                      <a:pt x="11061" y="1643"/>
                      <a:pt x="11061" y="1953"/>
                    </a:cubicBezTo>
                    <a:lnTo>
                      <a:pt x="11061" y="6941"/>
                    </a:lnTo>
                    <a:cubicBezTo>
                      <a:pt x="11050" y="7239"/>
                      <a:pt x="10788" y="7489"/>
                      <a:pt x="10490" y="7489"/>
                    </a:cubicBezTo>
                    <a:lnTo>
                      <a:pt x="7656" y="7489"/>
                    </a:lnTo>
                    <a:cubicBezTo>
                      <a:pt x="7609" y="7489"/>
                      <a:pt x="7549" y="7525"/>
                      <a:pt x="7513" y="7549"/>
                    </a:cubicBezTo>
                    <a:cubicBezTo>
                      <a:pt x="7490" y="7596"/>
                      <a:pt x="7478" y="7644"/>
                      <a:pt x="7490" y="7680"/>
                    </a:cubicBezTo>
                    <a:lnTo>
                      <a:pt x="7918" y="9561"/>
                    </a:lnTo>
                    <a:lnTo>
                      <a:pt x="7918" y="9573"/>
                    </a:lnTo>
                    <a:lnTo>
                      <a:pt x="7906" y="9573"/>
                    </a:lnTo>
                    <a:lnTo>
                      <a:pt x="5216" y="7727"/>
                    </a:lnTo>
                    <a:lnTo>
                      <a:pt x="6644" y="6751"/>
                    </a:lnTo>
                    <a:lnTo>
                      <a:pt x="9430" y="6751"/>
                    </a:lnTo>
                    <a:cubicBezTo>
                      <a:pt x="9930" y="6751"/>
                      <a:pt x="10311" y="6358"/>
                      <a:pt x="10311" y="5870"/>
                    </a:cubicBezTo>
                    <a:lnTo>
                      <a:pt x="10311" y="1405"/>
                    </a:lnTo>
                    <a:close/>
                    <a:moveTo>
                      <a:pt x="882" y="0"/>
                    </a:moveTo>
                    <a:cubicBezTo>
                      <a:pt x="393" y="0"/>
                      <a:pt x="1" y="393"/>
                      <a:pt x="1" y="881"/>
                    </a:cubicBezTo>
                    <a:lnTo>
                      <a:pt x="1" y="5870"/>
                    </a:lnTo>
                    <a:cubicBezTo>
                      <a:pt x="1" y="6358"/>
                      <a:pt x="393" y="6739"/>
                      <a:pt x="882" y="6739"/>
                    </a:cubicBezTo>
                    <a:lnTo>
                      <a:pt x="1072" y="6739"/>
                    </a:lnTo>
                    <a:lnTo>
                      <a:pt x="1072" y="6941"/>
                    </a:lnTo>
                    <a:cubicBezTo>
                      <a:pt x="1072" y="7430"/>
                      <a:pt x="1465" y="7811"/>
                      <a:pt x="1953" y="7811"/>
                    </a:cubicBezTo>
                    <a:lnTo>
                      <a:pt x="3275" y="7811"/>
                    </a:lnTo>
                    <a:lnTo>
                      <a:pt x="3144" y="8406"/>
                    </a:lnTo>
                    <a:cubicBezTo>
                      <a:pt x="3108" y="8549"/>
                      <a:pt x="3168" y="8692"/>
                      <a:pt x="3287" y="8763"/>
                    </a:cubicBezTo>
                    <a:cubicBezTo>
                      <a:pt x="3346" y="8811"/>
                      <a:pt x="3430" y="8823"/>
                      <a:pt x="3489" y="8823"/>
                    </a:cubicBezTo>
                    <a:cubicBezTo>
                      <a:pt x="3561" y="8823"/>
                      <a:pt x="3620" y="8811"/>
                      <a:pt x="3680" y="8763"/>
                    </a:cubicBezTo>
                    <a:lnTo>
                      <a:pt x="4918" y="7918"/>
                    </a:lnTo>
                    <a:lnTo>
                      <a:pt x="7704" y="9835"/>
                    </a:lnTo>
                    <a:cubicBezTo>
                      <a:pt x="7763" y="9882"/>
                      <a:pt x="7847" y="9894"/>
                      <a:pt x="7906" y="9894"/>
                    </a:cubicBezTo>
                    <a:cubicBezTo>
                      <a:pt x="7978" y="9894"/>
                      <a:pt x="8037" y="9882"/>
                      <a:pt x="8097" y="9835"/>
                    </a:cubicBezTo>
                    <a:cubicBezTo>
                      <a:pt x="8216" y="9763"/>
                      <a:pt x="8275" y="9620"/>
                      <a:pt x="8240" y="9477"/>
                    </a:cubicBezTo>
                    <a:lnTo>
                      <a:pt x="7859" y="7811"/>
                    </a:lnTo>
                    <a:lnTo>
                      <a:pt x="10490" y="7811"/>
                    </a:lnTo>
                    <a:cubicBezTo>
                      <a:pt x="10978" y="7811"/>
                      <a:pt x="11371" y="7430"/>
                      <a:pt x="11371" y="6941"/>
                    </a:cubicBezTo>
                    <a:lnTo>
                      <a:pt x="11371" y="1953"/>
                    </a:lnTo>
                    <a:cubicBezTo>
                      <a:pt x="11371" y="1476"/>
                      <a:pt x="10966" y="1072"/>
                      <a:pt x="10490" y="1072"/>
                    </a:cubicBezTo>
                    <a:lnTo>
                      <a:pt x="10299" y="1072"/>
                    </a:lnTo>
                    <a:lnTo>
                      <a:pt x="10299" y="881"/>
                    </a:lnTo>
                    <a:cubicBezTo>
                      <a:pt x="10299" y="393"/>
                      <a:pt x="9918" y="0"/>
                      <a:pt x="9418" y="0"/>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grpSp>
      </p:grpSp>
      <p:grpSp>
        <p:nvGrpSpPr>
          <p:cNvPr id="177" name="Google Shape;177;p22"/>
          <p:cNvGrpSpPr/>
          <p:nvPr/>
        </p:nvGrpSpPr>
        <p:grpSpPr>
          <a:xfrm>
            <a:off x="5884233" y="3729483"/>
            <a:ext cx="445184" cy="356140"/>
            <a:chOff x="7500054" y="2934735"/>
            <a:chExt cx="350576" cy="280454"/>
          </a:xfrm>
        </p:grpSpPr>
        <p:sp>
          <p:nvSpPr>
            <p:cNvPr id="178" name="Google Shape;178;p22"/>
            <p:cNvSpPr/>
            <p:nvPr/>
          </p:nvSpPr>
          <p:spPr>
            <a:xfrm>
              <a:off x="7571671" y="2959371"/>
              <a:ext cx="191426" cy="10249"/>
            </a:xfrm>
            <a:custGeom>
              <a:avLst/>
              <a:gdLst/>
              <a:ahLst/>
              <a:cxnLst/>
              <a:rect l="l" t="t" r="r" b="b"/>
              <a:pathLst>
                <a:path w="6014" h="322" extrusionOk="0">
                  <a:moveTo>
                    <a:pt x="156" y="0"/>
                  </a:moveTo>
                  <a:cubicBezTo>
                    <a:pt x="72" y="0"/>
                    <a:pt x="1" y="71"/>
                    <a:pt x="1" y="167"/>
                  </a:cubicBezTo>
                  <a:cubicBezTo>
                    <a:pt x="1" y="250"/>
                    <a:pt x="72" y="322"/>
                    <a:pt x="156" y="322"/>
                  </a:cubicBezTo>
                  <a:lnTo>
                    <a:pt x="5847" y="322"/>
                  </a:lnTo>
                  <a:cubicBezTo>
                    <a:pt x="5930" y="322"/>
                    <a:pt x="6014" y="250"/>
                    <a:pt x="6014" y="167"/>
                  </a:cubicBezTo>
                  <a:cubicBezTo>
                    <a:pt x="6014" y="71"/>
                    <a:pt x="5930" y="0"/>
                    <a:pt x="5847" y="0"/>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79" name="Google Shape;179;p22"/>
            <p:cNvSpPr/>
            <p:nvPr/>
          </p:nvSpPr>
          <p:spPr>
            <a:xfrm>
              <a:off x="7500054" y="2934735"/>
              <a:ext cx="350576" cy="280454"/>
            </a:xfrm>
            <a:custGeom>
              <a:avLst/>
              <a:gdLst/>
              <a:ahLst/>
              <a:cxnLst/>
              <a:rect l="l" t="t" r="r" b="b"/>
              <a:pathLst>
                <a:path w="11014" h="8811" extrusionOk="0">
                  <a:moveTo>
                    <a:pt x="1501" y="310"/>
                  </a:moveTo>
                  <a:lnTo>
                    <a:pt x="1501" y="1560"/>
                  </a:lnTo>
                  <a:lnTo>
                    <a:pt x="310" y="1560"/>
                  </a:lnTo>
                  <a:lnTo>
                    <a:pt x="310" y="417"/>
                  </a:lnTo>
                  <a:cubicBezTo>
                    <a:pt x="310" y="357"/>
                    <a:pt x="358" y="310"/>
                    <a:pt x="417" y="310"/>
                  </a:cubicBezTo>
                  <a:close/>
                  <a:moveTo>
                    <a:pt x="8990" y="310"/>
                  </a:moveTo>
                  <a:cubicBezTo>
                    <a:pt x="9049" y="310"/>
                    <a:pt x="9097" y="357"/>
                    <a:pt x="9097" y="417"/>
                  </a:cubicBezTo>
                  <a:lnTo>
                    <a:pt x="9097" y="1560"/>
                  </a:lnTo>
                  <a:lnTo>
                    <a:pt x="1834" y="1560"/>
                  </a:lnTo>
                  <a:lnTo>
                    <a:pt x="1834" y="310"/>
                  </a:lnTo>
                  <a:close/>
                  <a:moveTo>
                    <a:pt x="10419" y="3453"/>
                  </a:moveTo>
                  <a:cubicBezTo>
                    <a:pt x="10561" y="3453"/>
                    <a:pt x="10704" y="3572"/>
                    <a:pt x="10704" y="3739"/>
                  </a:cubicBezTo>
                  <a:cubicBezTo>
                    <a:pt x="10704" y="3893"/>
                    <a:pt x="10561" y="4013"/>
                    <a:pt x="10419" y="4013"/>
                  </a:cubicBezTo>
                  <a:cubicBezTo>
                    <a:pt x="10264" y="4013"/>
                    <a:pt x="10133" y="3893"/>
                    <a:pt x="10133" y="3739"/>
                  </a:cubicBezTo>
                  <a:cubicBezTo>
                    <a:pt x="10133" y="3572"/>
                    <a:pt x="10252" y="3453"/>
                    <a:pt x="10419" y="3453"/>
                  </a:cubicBezTo>
                  <a:close/>
                  <a:moveTo>
                    <a:pt x="6537" y="4786"/>
                  </a:moveTo>
                  <a:cubicBezTo>
                    <a:pt x="6680" y="4786"/>
                    <a:pt x="6811" y="4906"/>
                    <a:pt x="6811" y="5072"/>
                  </a:cubicBezTo>
                  <a:cubicBezTo>
                    <a:pt x="6811" y="5239"/>
                    <a:pt x="6680" y="5358"/>
                    <a:pt x="6537" y="5358"/>
                  </a:cubicBezTo>
                  <a:cubicBezTo>
                    <a:pt x="6382" y="5358"/>
                    <a:pt x="6251" y="5239"/>
                    <a:pt x="6251" y="5072"/>
                  </a:cubicBezTo>
                  <a:cubicBezTo>
                    <a:pt x="6251" y="4906"/>
                    <a:pt x="6370" y="4786"/>
                    <a:pt x="6537" y="4786"/>
                  </a:cubicBezTo>
                  <a:close/>
                  <a:moveTo>
                    <a:pt x="8240" y="6156"/>
                  </a:moveTo>
                  <a:cubicBezTo>
                    <a:pt x="8394" y="6156"/>
                    <a:pt x="8525" y="6275"/>
                    <a:pt x="8525" y="6441"/>
                  </a:cubicBezTo>
                  <a:cubicBezTo>
                    <a:pt x="8525" y="6608"/>
                    <a:pt x="8394" y="6727"/>
                    <a:pt x="8240" y="6727"/>
                  </a:cubicBezTo>
                  <a:cubicBezTo>
                    <a:pt x="8097" y="6727"/>
                    <a:pt x="7966" y="6608"/>
                    <a:pt x="7966" y="6441"/>
                  </a:cubicBezTo>
                  <a:cubicBezTo>
                    <a:pt x="7966" y="6299"/>
                    <a:pt x="8073" y="6156"/>
                    <a:pt x="8240" y="6156"/>
                  </a:cubicBezTo>
                  <a:close/>
                  <a:moveTo>
                    <a:pt x="4811" y="6382"/>
                  </a:moveTo>
                  <a:cubicBezTo>
                    <a:pt x="4954" y="6382"/>
                    <a:pt x="5085" y="6501"/>
                    <a:pt x="5085" y="6668"/>
                  </a:cubicBezTo>
                  <a:cubicBezTo>
                    <a:pt x="5085" y="6834"/>
                    <a:pt x="4954" y="6953"/>
                    <a:pt x="4811" y="6953"/>
                  </a:cubicBezTo>
                  <a:cubicBezTo>
                    <a:pt x="4656" y="6953"/>
                    <a:pt x="4525" y="6834"/>
                    <a:pt x="4525" y="6668"/>
                  </a:cubicBezTo>
                  <a:cubicBezTo>
                    <a:pt x="4525" y="6501"/>
                    <a:pt x="4644" y="6382"/>
                    <a:pt x="4811" y="6382"/>
                  </a:cubicBezTo>
                  <a:close/>
                  <a:moveTo>
                    <a:pt x="417" y="0"/>
                  </a:moveTo>
                  <a:cubicBezTo>
                    <a:pt x="179" y="0"/>
                    <a:pt x="1" y="143"/>
                    <a:pt x="1" y="417"/>
                  </a:cubicBezTo>
                  <a:lnTo>
                    <a:pt x="1" y="8382"/>
                  </a:lnTo>
                  <a:cubicBezTo>
                    <a:pt x="1" y="8620"/>
                    <a:pt x="191" y="8787"/>
                    <a:pt x="417" y="8787"/>
                  </a:cubicBezTo>
                  <a:lnTo>
                    <a:pt x="4513" y="8787"/>
                  </a:lnTo>
                  <a:cubicBezTo>
                    <a:pt x="4596" y="8787"/>
                    <a:pt x="4668" y="8715"/>
                    <a:pt x="4668" y="8632"/>
                  </a:cubicBezTo>
                  <a:cubicBezTo>
                    <a:pt x="4668" y="8537"/>
                    <a:pt x="4596" y="8465"/>
                    <a:pt x="4513" y="8465"/>
                  </a:cubicBezTo>
                  <a:lnTo>
                    <a:pt x="417" y="8465"/>
                  </a:lnTo>
                  <a:cubicBezTo>
                    <a:pt x="358" y="8465"/>
                    <a:pt x="310" y="8418"/>
                    <a:pt x="310" y="8358"/>
                  </a:cubicBezTo>
                  <a:lnTo>
                    <a:pt x="310" y="1869"/>
                  </a:lnTo>
                  <a:lnTo>
                    <a:pt x="9073" y="1869"/>
                  </a:lnTo>
                  <a:lnTo>
                    <a:pt x="9073" y="5144"/>
                  </a:lnTo>
                  <a:lnTo>
                    <a:pt x="8502" y="5894"/>
                  </a:lnTo>
                  <a:cubicBezTo>
                    <a:pt x="8418" y="5846"/>
                    <a:pt x="8335" y="5834"/>
                    <a:pt x="8240" y="5834"/>
                  </a:cubicBezTo>
                  <a:cubicBezTo>
                    <a:pt x="8109" y="5834"/>
                    <a:pt x="7978" y="5870"/>
                    <a:pt x="7871" y="5965"/>
                  </a:cubicBezTo>
                  <a:lnTo>
                    <a:pt x="7073" y="5322"/>
                  </a:lnTo>
                  <a:cubicBezTo>
                    <a:pt x="7109" y="5251"/>
                    <a:pt x="7132" y="5156"/>
                    <a:pt x="7132" y="5060"/>
                  </a:cubicBezTo>
                  <a:cubicBezTo>
                    <a:pt x="7132" y="4727"/>
                    <a:pt x="6859" y="4441"/>
                    <a:pt x="6513" y="4441"/>
                  </a:cubicBezTo>
                  <a:cubicBezTo>
                    <a:pt x="6192" y="4441"/>
                    <a:pt x="5906" y="4715"/>
                    <a:pt x="5906" y="5060"/>
                  </a:cubicBezTo>
                  <a:cubicBezTo>
                    <a:pt x="5906" y="5167"/>
                    <a:pt x="5942" y="5263"/>
                    <a:pt x="5978" y="5358"/>
                  </a:cubicBezTo>
                  <a:lnTo>
                    <a:pt x="5108" y="6144"/>
                  </a:lnTo>
                  <a:cubicBezTo>
                    <a:pt x="5013" y="6084"/>
                    <a:pt x="4906" y="6049"/>
                    <a:pt x="4787" y="6049"/>
                  </a:cubicBezTo>
                  <a:cubicBezTo>
                    <a:pt x="4465" y="6049"/>
                    <a:pt x="4180" y="6322"/>
                    <a:pt x="4180" y="6668"/>
                  </a:cubicBezTo>
                  <a:cubicBezTo>
                    <a:pt x="4180" y="6989"/>
                    <a:pt x="4454" y="7275"/>
                    <a:pt x="4787" y="7275"/>
                  </a:cubicBezTo>
                  <a:cubicBezTo>
                    <a:pt x="5132" y="7275"/>
                    <a:pt x="5406" y="7001"/>
                    <a:pt x="5406" y="6668"/>
                  </a:cubicBezTo>
                  <a:cubicBezTo>
                    <a:pt x="5406" y="6560"/>
                    <a:pt x="5370" y="6465"/>
                    <a:pt x="5323" y="6382"/>
                  </a:cubicBezTo>
                  <a:lnTo>
                    <a:pt x="6204" y="5572"/>
                  </a:lnTo>
                  <a:cubicBezTo>
                    <a:pt x="6299" y="5620"/>
                    <a:pt x="6394" y="5656"/>
                    <a:pt x="6501" y="5656"/>
                  </a:cubicBezTo>
                  <a:cubicBezTo>
                    <a:pt x="6620" y="5656"/>
                    <a:pt x="6740" y="5620"/>
                    <a:pt x="6835" y="5548"/>
                  </a:cubicBezTo>
                  <a:lnTo>
                    <a:pt x="7644" y="6203"/>
                  </a:lnTo>
                  <a:cubicBezTo>
                    <a:pt x="7621" y="6263"/>
                    <a:pt x="7609" y="6334"/>
                    <a:pt x="7609" y="6406"/>
                  </a:cubicBezTo>
                  <a:cubicBezTo>
                    <a:pt x="7609" y="6739"/>
                    <a:pt x="7871" y="7025"/>
                    <a:pt x="8216" y="7025"/>
                  </a:cubicBezTo>
                  <a:cubicBezTo>
                    <a:pt x="8561" y="7025"/>
                    <a:pt x="8823" y="6751"/>
                    <a:pt x="8823" y="6406"/>
                  </a:cubicBezTo>
                  <a:cubicBezTo>
                    <a:pt x="8823" y="6287"/>
                    <a:pt x="8799" y="6168"/>
                    <a:pt x="8716" y="6084"/>
                  </a:cubicBezTo>
                  <a:lnTo>
                    <a:pt x="9061" y="5656"/>
                  </a:lnTo>
                  <a:lnTo>
                    <a:pt x="9061" y="8382"/>
                  </a:lnTo>
                  <a:cubicBezTo>
                    <a:pt x="9061" y="8442"/>
                    <a:pt x="9014" y="8477"/>
                    <a:pt x="8954" y="8477"/>
                  </a:cubicBezTo>
                  <a:lnTo>
                    <a:pt x="5227" y="8477"/>
                  </a:lnTo>
                  <a:cubicBezTo>
                    <a:pt x="5132" y="8477"/>
                    <a:pt x="5061" y="8561"/>
                    <a:pt x="5061" y="8644"/>
                  </a:cubicBezTo>
                  <a:cubicBezTo>
                    <a:pt x="5061" y="8739"/>
                    <a:pt x="5132" y="8811"/>
                    <a:pt x="5227" y="8811"/>
                  </a:cubicBezTo>
                  <a:lnTo>
                    <a:pt x="8954" y="8811"/>
                  </a:lnTo>
                  <a:cubicBezTo>
                    <a:pt x="9192" y="8811"/>
                    <a:pt x="9371" y="8620"/>
                    <a:pt x="9371" y="8394"/>
                  </a:cubicBezTo>
                  <a:lnTo>
                    <a:pt x="9371" y="5287"/>
                  </a:lnTo>
                  <a:lnTo>
                    <a:pt x="10145" y="4298"/>
                  </a:lnTo>
                  <a:cubicBezTo>
                    <a:pt x="10228" y="4334"/>
                    <a:pt x="10299" y="4346"/>
                    <a:pt x="10383" y="4346"/>
                  </a:cubicBezTo>
                  <a:cubicBezTo>
                    <a:pt x="10716" y="4346"/>
                    <a:pt x="10990" y="4072"/>
                    <a:pt x="10990" y="3739"/>
                  </a:cubicBezTo>
                  <a:cubicBezTo>
                    <a:pt x="11014" y="3405"/>
                    <a:pt x="10740" y="3131"/>
                    <a:pt x="10419" y="3131"/>
                  </a:cubicBezTo>
                  <a:cubicBezTo>
                    <a:pt x="10085" y="3131"/>
                    <a:pt x="9811" y="3405"/>
                    <a:pt x="9811" y="3751"/>
                  </a:cubicBezTo>
                  <a:cubicBezTo>
                    <a:pt x="9811" y="3882"/>
                    <a:pt x="9847" y="4001"/>
                    <a:pt x="9930" y="4108"/>
                  </a:cubicBezTo>
                  <a:lnTo>
                    <a:pt x="9407" y="4763"/>
                  </a:lnTo>
                  <a:lnTo>
                    <a:pt x="9407" y="381"/>
                  </a:lnTo>
                  <a:cubicBezTo>
                    <a:pt x="9407" y="191"/>
                    <a:pt x="9276" y="0"/>
                    <a:pt x="8990" y="0"/>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80" name="Google Shape;180;p22"/>
            <p:cNvSpPr/>
            <p:nvPr/>
          </p:nvSpPr>
          <p:spPr>
            <a:xfrm>
              <a:off x="7539459" y="3074564"/>
              <a:ext cx="82663" cy="10249"/>
            </a:xfrm>
            <a:custGeom>
              <a:avLst/>
              <a:gdLst/>
              <a:ahLst/>
              <a:cxnLst/>
              <a:rect l="l" t="t" r="r" b="b"/>
              <a:pathLst>
                <a:path w="2597" h="322"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81" name="Google Shape;181;p22"/>
            <p:cNvSpPr/>
            <p:nvPr/>
          </p:nvSpPr>
          <p:spPr>
            <a:xfrm>
              <a:off x="7539459" y="3099582"/>
              <a:ext cx="82663" cy="10249"/>
            </a:xfrm>
            <a:custGeom>
              <a:avLst/>
              <a:gdLst/>
              <a:ahLst/>
              <a:cxnLst/>
              <a:rect l="l" t="t" r="r" b="b"/>
              <a:pathLst>
                <a:path w="2597" h="322" extrusionOk="0">
                  <a:moveTo>
                    <a:pt x="156" y="0"/>
                  </a:moveTo>
                  <a:cubicBezTo>
                    <a:pt x="72" y="0"/>
                    <a:pt x="1" y="72"/>
                    <a:pt x="1" y="167"/>
                  </a:cubicBezTo>
                  <a:cubicBezTo>
                    <a:pt x="1" y="250"/>
                    <a:pt x="72" y="322"/>
                    <a:pt x="156" y="322"/>
                  </a:cubicBezTo>
                  <a:lnTo>
                    <a:pt x="2442" y="322"/>
                  </a:lnTo>
                  <a:cubicBezTo>
                    <a:pt x="2525" y="322"/>
                    <a:pt x="2596" y="250"/>
                    <a:pt x="2596" y="167"/>
                  </a:cubicBezTo>
                  <a:cubicBezTo>
                    <a:pt x="2596" y="72"/>
                    <a:pt x="2525" y="0"/>
                    <a:pt x="2442" y="0"/>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82" name="Google Shape;182;p22"/>
            <p:cNvSpPr/>
            <p:nvPr/>
          </p:nvSpPr>
          <p:spPr>
            <a:xfrm>
              <a:off x="7539459" y="3124601"/>
              <a:ext cx="82663" cy="10631"/>
            </a:xfrm>
            <a:custGeom>
              <a:avLst/>
              <a:gdLst/>
              <a:ahLst/>
              <a:cxnLst/>
              <a:rect l="l" t="t" r="r" b="b"/>
              <a:pathLst>
                <a:path w="2597" h="334" extrusionOk="0">
                  <a:moveTo>
                    <a:pt x="156" y="0"/>
                  </a:moveTo>
                  <a:cubicBezTo>
                    <a:pt x="72" y="0"/>
                    <a:pt x="1" y="72"/>
                    <a:pt x="1" y="167"/>
                  </a:cubicBezTo>
                  <a:cubicBezTo>
                    <a:pt x="1" y="250"/>
                    <a:pt x="72" y="334"/>
                    <a:pt x="156" y="334"/>
                  </a:cubicBezTo>
                  <a:lnTo>
                    <a:pt x="2442" y="334"/>
                  </a:lnTo>
                  <a:cubicBezTo>
                    <a:pt x="2525" y="334"/>
                    <a:pt x="2596" y="250"/>
                    <a:pt x="2596" y="167"/>
                  </a:cubicBezTo>
                  <a:cubicBezTo>
                    <a:pt x="2596" y="72"/>
                    <a:pt x="2525" y="0"/>
                    <a:pt x="2442" y="0"/>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83" name="Google Shape;183;p22"/>
            <p:cNvSpPr/>
            <p:nvPr/>
          </p:nvSpPr>
          <p:spPr>
            <a:xfrm>
              <a:off x="7539459" y="3149587"/>
              <a:ext cx="82663" cy="10663"/>
            </a:xfrm>
            <a:custGeom>
              <a:avLst/>
              <a:gdLst/>
              <a:ahLst/>
              <a:cxnLst/>
              <a:rect l="l" t="t" r="r" b="b"/>
              <a:pathLst>
                <a:path w="2597" h="335" extrusionOk="0">
                  <a:moveTo>
                    <a:pt x="156" y="1"/>
                  </a:moveTo>
                  <a:cubicBezTo>
                    <a:pt x="72" y="1"/>
                    <a:pt x="1" y="84"/>
                    <a:pt x="1" y="168"/>
                  </a:cubicBezTo>
                  <a:cubicBezTo>
                    <a:pt x="1" y="263"/>
                    <a:pt x="72" y="334"/>
                    <a:pt x="156" y="334"/>
                  </a:cubicBezTo>
                  <a:lnTo>
                    <a:pt x="2442" y="334"/>
                  </a:lnTo>
                  <a:cubicBezTo>
                    <a:pt x="2525" y="334"/>
                    <a:pt x="2596" y="263"/>
                    <a:pt x="2596" y="168"/>
                  </a:cubicBezTo>
                  <a:cubicBezTo>
                    <a:pt x="2596" y="84"/>
                    <a:pt x="2525" y="1"/>
                    <a:pt x="2442"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84" name="Google Shape;184;p22"/>
            <p:cNvSpPr/>
            <p:nvPr/>
          </p:nvSpPr>
          <p:spPr>
            <a:xfrm>
              <a:off x="7539459" y="3174988"/>
              <a:ext cx="82663" cy="10281"/>
            </a:xfrm>
            <a:custGeom>
              <a:avLst/>
              <a:gdLst/>
              <a:ahLst/>
              <a:cxnLst/>
              <a:rect l="l" t="t" r="r" b="b"/>
              <a:pathLst>
                <a:path w="2597" h="323"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85" name="Google Shape;185;p22"/>
            <p:cNvSpPr/>
            <p:nvPr/>
          </p:nvSpPr>
          <p:spPr>
            <a:xfrm>
              <a:off x="7539459" y="3011286"/>
              <a:ext cx="220614" cy="47395"/>
            </a:xfrm>
            <a:custGeom>
              <a:avLst/>
              <a:gdLst/>
              <a:ahLst/>
              <a:cxnLst/>
              <a:rect l="l" t="t" r="r" b="b"/>
              <a:pathLst>
                <a:path w="6931" h="1489" extrusionOk="0">
                  <a:moveTo>
                    <a:pt x="418" y="0"/>
                  </a:moveTo>
                  <a:cubicBezTo>
                    <a:pt x="179" y="0"/>
                    <a:pt x="1" y="191"/>
                    <a:pt x="1" y="417"/>
                  </a:cubicBezTo>
                  <a:lnTo>
                    <a:pt x="1" y="1072"/>
                  </a:lnTo>
                  <a:cubicBezTo>
                    <a:pt x="1" y="1310"/>
                    <a:pt x="191" y="1488"/>
                    <a:pt x="418" y="1488"/>
                  </a:cubicBezTo>
                  <a:lnTo>
                    <a:pt x="3251" y="1488"/>
                  </a:lnTo>
                  <a:cubicBezTo>
                    <a:pt x="3346" y="1488"/>
                    <a:pt x="3418" y="1417"/>
                    <a:pt x="3418" y="1322"/>
                  </a:cubicBezTo>
                  <a:cubicBezTo>
                    <a:pt x="3418" y="1238"/>
                    <a:pt x="3346" y="1167"/>
                    <a:pt x="3251" y="1167"/>
                  </a:cubicBezTo>
                  <a:lnTo>
                    <a:pt x="418" y="1167"/>
                  </a:lnTo>
                  <a:cubicBezTo>
                    <a:pt x="358" y="1167"/>
                    <a:pt x="310" y="1119"/>
                    <a:pt x="310" y="1060"/>
                  </a:cubicBezTo>
                  <a:lnTo>
                    <a:pt x="310" y="405"/>
                  </a:lnTo>
                  <a:cubicBezTo>
                    <a:pt x="310" y="345"/>
                    <a:pt x="358" y="298"/>
                    <a:pt x="418" y="298"/>
                  </a:cubicBezTo>
                  <a:lnTo>
                    <a:pt x="6502" y="298"/>
                  </a:lnTo>
                  <a:cubicBezTo>
                    <a:pt x="6561" y="298"/>
                    <a:pt x="6609" y="345"/>
                    <a:pt x="6609" y="405"/>
                  </a:cubicBezTo>
                  <a:lnTo>
                    <a:pt x="6609" y="1060"/>
                  </a:lnTo>
                  <a:cubicBezTo>
                    <a:pt x="6609" y="1119"/>
                    <a:pt x="6561" y="1167"/>
                    <a:pt x="6502" y="1167"/>
                  </a:cubicBezTo>
                  <a:lnTo>
                    <a:pt x="4013" y="1167"/>
                  </a:lnTo>
                  <a:cubicBezTo>
                    <a:pt x="3930" y="1167"/>
                    <a:pt x="3847" y="1238"/>
                    <a:pt x="3847" y="1322"/>
                  </a:cubicBezTo>
                  <a:cubicBezTo>
                    <a:pt x="3847" y="1417"/>
                    <a:pt x="3930" y="1488"/>
                    <a:pt x="4013" y="1488"/>
                  </a:cubicBezTo>
                  <a:lnTo>
                    <a:pt x="6502" y="1488"/>
                  </a:lnTo>
                  <a:cubicBezTo>
                    <a:pt x="6740" y="1488"/>
                    <a:pt x="6918" y="1298"/>
                    <a:pt x="6918" y="1072"/>
                  </a:cubicBezTo>
                  <a:lnTo>
                    <a:pt x="6918" y="417"/>
                  </a:lnTo>
                  <a:cubicBezTo>
                    <a:pt x="6930" y="203"/>
                    <a:pt x="6740" y="0"/>
                    <a:pt x="6502" y="0"/>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grpSp>
      <p:sp>
        <p:nvSpPr>
          <p:cNvPr id="186" name="Google Shape;186;p22"/>
          <p:cNvSpPr/>
          <p:nvPr/>
        </p:nvSpPr>
        <p:spPr>
          <a:xfrm>
            <a:off x="10712944" y="3681165"/>
            <a:ext cx="143065" cy="182449"/>
          </a:xfrm>
          <a:custGeom>
            <a:avLst/>
            <a:gdLst/>
            <a:ahLst/>
            <a:cxnLst/>
            <a:rect l="l" t="t" r="r" b="b"/>
            <a:pathLst>
              <a:path w="3371" h="4299" extrusionOk="0">
                <a:moveTo>
                  <a:pt x="1691" y="357"/>
                </a:moveTo>
                <a:cubicBezTo>
                  <a:pt x="2418" y="357"/>
                  <a:pt x="3013" y="953"/>
                  <a:pt x="3013" y="1679"/>
                </a:cubicBezTo>
                <a:cubicBezTo>
                  <a:pt x="3013" y="2250"/>
                  <a:pt x="2644" y="2750"/>
                  <a:pt x="2108" y="2929"/>
                </a:cubicBezTo>
                <a:lnTo>
                  <a:pt x="2418" y="1726"/>
                </a:lnTo>
                <a:cubicBezTo>
                  <a:pt x="2453" y="1643"/>
                  <a:pt x="2394" y="1536"/>
                  <a:pt x="2287" y="1512"/>
                </a:cubicBezTo>
                <a:cubicBezTo>
                  <a:pt x="2273" y="1509"/>
                  <a:pt x="2258" y="1507"/>
                  <a:pt x="2244" y="1507"/>
                </a:cubicBezTo>
                <a:cubicBezTo>
                  <a:pt x="2162" y="1507"/>
                  <a:pt x="2082" y="1564"/>
                  <a:pt x="2072" y="1655"/>
                </a:cubicBezTo>
                <a:lnTo>
                  <a:pt x="2060" y="1715"/>
                </a:lnTo>
                <a:lnTo>
                  <a:pt x="1322" y="1715"/>
                </a:lnTo>
                <a:lnTo>
                  <a:pt x="1298" y="1655"/>
                </a:lnTo>
                <a:cubicBezTo>
                  <a:pt x="1277" y="1568"/>
                  <a:pt x="1195" y="1511"/>
                  <a:pt x="1117" y="1511"/>
                </a:cubicBezTo>
                <a:cubicBezTo>
                  <a:pt x="1110" y="1511"/>
                  <a:pt x="1103" y="1511"/>
                  <a:pt x="1096" y="1512"/>
                </a:cubicBezTo>
                <a:cubicBezTo>
                  <a:pt x="1001" y="1548"/>
                  <a:pt x="941" y="1631"/>
                  <a:pt x="965" y="1726"/>
                </a:cubicBezTo>
                <a:lnTo>
                  <a:pt x="1275" y="2929"/>
                </a:lnTo>
                <a:cubicBezTo>
                  <a:pt x="751" y="2750"/>
                  <a:pt x="370" y="2262"/>
                  <a:pt x="370" y="1679"/>
                </a:cubicBezTo>
                <a:cubicBezTo>
                  <a:pt x="370" y="953"/>
                  <a:pt x="965" y="357"/>
                  <a:pt x="1691" y="357"/>
                </a:cubicBezTo>
                <a:close/>
                <a:moveTo>
                  <a:pt x="1989" y="2036"/>
                </a:moveTo>
                <a:lnTo>
                  <a:pt x="1751" y="3012"/>
                </a:lnTo>
                <a:lnTo>
                  <a:pt x="1656" y="3012"/>
                </a:lnTo>
                <a:lnTo>
                  <a:pt x="1406" y="2036"/>
                </a:lnTo>
                <a:close/>
                <a:moveTo>
                  <a:pt x="2072" y="3310"/>
                </a:moveTo>
                <a:lnTo>
                  <a:pt x="2072" y="3739"/>
                </a:lnTo>
                <a:lnTo>
                  <a:pt x="1322" y="3751"/>
                </a:lnTo>
                <a:cubicBezTo>
                  <a:pt x="1322" y="3751"/>
                  <a:pt x="1298" y="3751"/>
                  <a:pt x="1298" y="3739"/>
                </a:cubicBezTo>
                <a:lnTo>
                  <a:pt x="1298" y="3310"/>
                </a:lnTo>
                <a:cubicBezTo>
                  <a:pt x="1417" y="3334"/>
                  <a:pt x="1560" y="3346"/>
                  <a:pt x="1691" y="3346"/>
                </a:cubicBezTo>
                <a:cubicBezTo>
                  <a:pt x="1822" y="3346"/>
                  <a:pt x="1953" y="3334"/>
                  <a:pt x="2072" y="3310"/>
                </a:cubicBezTo>
                <a:close/>
                <a:moveTo>
                  <a:pt x="1691" y="0"/>
                </a:moveTo>
                <a:cubicBezTo>
                  <a:pt x="763" y="0"/>
                  <a:pt x="1" y="750"/>
                  <a:pt x="1" y="1679"/>
                </a:cubicBezTo>
                <a:cubicBezTo>
                  <a:pt x="1" y="2334"/>
                  <a:pt x="394" y="2917"/>
                  <a:pt x="941" y="3191"/>
                </a:cubicBezTo>
                <a:lnTo>
                  <a:pt x="941" y="3751"/>
                </a:lnTo>
                <a:cubicBezTo>
                  <a:pt x="941" y="3941"/>
                  <a:pt x="1108" y="4108"/>
                  <a:pt x="1298" y="4108"/>
                </a:cubicBezTo>
                <a:lnTo>
                  <a:pt x="1501" y="4108"/>
                </a:lnTo>
                <a:lnTo>
                  <a:pt x="1501" y="4120"/>
                </a:lnTo>
                <a:cubicBezTo>
                  <a:pt x="1501" y="4227"/>
                  <a:pt x="1572" y="4298"/>
                  <a:pt x="1679" y="4298"/>
                </a:cubicBezTo>
                <a:cubicBezTo>
                  <a:pt x="1775" y="4298"/>
                  <a:pt x="1858" y="4227"/>
                  <a:pt x="1858" y="4120"/>
                </a:cubicBezTo>
                <a:lnTo>
                  <a:pt x="1858" y="4108"/>
                </a:lnTo>
                <a:lnTo>
                  <a:pt x="2048" y="4108"/>
                </a:lnTo>
                <a:cubicBezTo>
                  <a:pt x="2239" y="4108"/>
                  <a:pt x="2406" y="3941"/>
                  <a:pt x="2406" y="3751"/>
                </a:cubicBezTo>
                <a:lnTo>
                  <a:pt x="2406" y="3191"/>
                </a:lnTo>
                <a:cubicBezTo>
                  <a:pt x="2953" y="2917"/>
                  <a:pt x="3346" y="2334"/>
                  <a:pt x="3346" y="1679"/>
                </a:cubicBezTo>
                <a:cubicBezTo>
                  <a:pt x="3370" y="750"/>
                  <a:pt x="2608" y="0"/>
                  <a:pt x="1691" y="0"/>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87" name="Google Shape;187;p22"/>
          <p:cNvSpPr/>
          <p:nvPr/>
        </p:nvSpPr>
        <p:spPr>
          <a:xfrm>
            <a:off x="10396128" y="3704380"/>
            <a:ext cx="285536" cy="429577"/>
          </a:xfrm>
          <a:custGeom>
            <a:avLst/>
            <a:gdLst/>
            <a:ahLst/>
            <a:cxnLst/>
            <a:rect l="l" t="t" r="r" b="b"/>
            <a:pathLst>
              <a:path w="6728" h="10122" extrusionOk="0">
                <a:moveTo>
                  <a:pt x="3346" y="358"/>
                </a:moveTo>
                <a:cubicBezTo>
                  <a:pt x="3870" y="358"/>
                  <a:pt x="4299" y="703"/>
                  <a:pt x="4299" y="1120"/>
                </a:cubicBezTo>
                <a:cubicBezTo>
                  <a:pt x="4001" y="1001"/>
                  <a:pt x="3691" y="941"/>
                  <a:pt x="3346" y="941"/>
                </a:cubicBezTo>
                <a:cubicBezTo>
                  <a:pt x="3001" y="941"/>
                  <a:pt x="2691" y="1001"/>
                  <a:pt x="2394" y="1120"/>
                </a:cubicBezTo>
                <a:cubicBezTo>
                  <a:pt x="2394" y="703"/>
                  <a:pt x="2810" y="358"/>
                  <a:pt x="3346" y="358"/>
                </a:cubicBezTo>
                <a:close/>
                <a:moveTo>
                  <a:pt x="3370" y="1299"/>
                </a:moveTo>
                <a:cubicBezTo>
                  <a:pt x="4620" y="1299"/>
                  <a:pt x="5620" y="2311"/>
                  <a:pt x="5620" y="3561"/>
                </a:cubicBezTo>
                <a:cubicBezTo>
                  <a:pt x="5620" y="3882"/>
                  <a:pt x="5549" y="4216"/>
                  <a:pt x="5418" y="4513"/>
                </a:cubicBezTo>
                <a:lnTo>
                  <a:pt x="5418" y="4347"/>
                </a:lnTo>
                <a:cubicBezTo>
                  <a:pt x="5418" y="4144"/>
                  <a:pt x="5322" y="3930"/>
                  <a:pt x="5168" y="3799"/>
                </a:cubicBezTo>
                <a:cubicBezTo>
                  <a:pt x="4811" y="3489"/>
                  <a:pt x="4025" y="2953"/>
                  <a:pt x="2632" y="2811"/>
                </a:cubicBezTo>
                <a:cubicBezTo>
                  <a:pt x="2626" y="2810"/>
                  <a:pt x="2619" y="2809"/>
                  <a:pt x="2613" y="2809"/>
                </a:cubicBezTo>
                <a:cubicBezTo>
                  <a:pt x="2535" y="2809"/>
                  <a:pt x="2452" y="2878"/>
                  <a:pt x="2441" y="2977"/>
                </a:cubicBezTo>
                <a:cubicBezTo>
                  <a:pt x="2429" y="3073"/>
                  <a:pt x="2501" y="3156"/>
                  <a:pt x="2608" y="3168"/>
                </a:cubicBezTo>
                <a:cubicBezTo>
                  <a:pt x="3882" y="3311"/>
                  <a:pt x="4632" y="3787"/>
                  <a:pt x="4941" y="4061"/>
                </a:cubicBezTo>
                <a:cubicBezTo>
                  <a:pt x="5013" y="4144"/>
                  <a:pt x="5072" y="4239"/>
                  <a:pt x="5072" y="4347"/>
                </a:cubicBezTo>
                <a:lnTo>
                  <a:pt x="5072" y="4680"/>
                </a:lnTo>
                <a:cubicBezTo>
                  <a:pt x="5072" y="5609"/>
                  <a:pt x="4310" y="6371"/>
                  <a:pt x="3382" y="6371"/>
                </a:cubicBezTo>
                <a:cubicBezTo>
                  <a:pt x="3374" y="6371"/>
                  <a:pt x="3367" y="6371"/>
                  <a:pt x="3359" y="6371"/>
                </a:cubicBezTo>
                <a:cubicBezTo>
                  <a:pt x="2405" y="6371"/>
                  <a:pt x="1643" y="5625"/>
                  <a:pt x="1643" y="4692"/>
                </a:cubicBezTo>
                <a:lnTo>
                  <a:pt x="1643" y="4549"/>
                </a:lnTo>
                <a:cubicBezTo>
                  <a:pt x="1643" y="4466"/>
                  <a:pt x="1679" y="4406"/>
                  <a:pt x="1739" y="4382"/>
                </a:cubicBezTo>
                <a:cubicBezTo>
                  <a:pt x="1965" y="4263"/>
                  <a:pt x="2251" y="4025"/>
                  <a:pt x="2382" y="3620"/>
                </a:cubicBezTo>
                <a:cubicBezTo>
                  <a:pt x="2405" y="3525"/>
                  <a:pt x="2370" y="3430"/>
                  <a:pt x="2274" y="3394"/>
                </a:cubicBezTo>
                <a:cubicBezTo>
                  <a:pt x="2258" y="3389"/>
                  <a:pt x="2240" y="3387"/>
                  <a:pt x="2222" y="3387"/>
                </a:cubicBezTo>
                <a:cubicBezTo>
                  <a:pt x="2152" y="3387"/>
                  <a:pt x="2079" y="3425"/>
                  <a:pt x="2060" y="3501"/>
                </a:cubicBezTo>
                <a:cubicBezTo>
                  <a:pt x="1953" y="3799"/>
                  <a:pt x="1739" y="3966"/>
                  <a:pt x="1584" y="4061"/>
                </a:cubicBezTo>
                <a:cubicBezTo>
                  <a:pt x="1417" y="4156"/>
                  <a:pt x="1310" y="4335"/>
                  <a:pt x="1310" y="4513"/>
                </a:cubicBezTo>
                <a:cubicBezTo>
                  <a:pt x="1179" y="4216"/>
                  <a:pt x="1108" y="3882"/>
                  <a:pt x="1108" y="3561"/>
                </a:cubicBezTo>
                <a:cubicBezTo>
                  <a:pt x="1108" y="2311"/>
                  <a:pt x="2120" y="1299"/>
                  <a:pt x="3370" y="1299"/>
                </a:cubicBezTo>
                <a:close/>
                <a:moveTo>
                  <a:pt x="4108" y="6585"/>
                </a:moveTo>
                <a:lnTo>
                  <a:pt x="4108" y="7002"/>
                </a:lnTo>
                <a:cubicBezTo>
                  <a:pt x="4108" y="7228"/>
                  <a:pt x="4239" y="7418"/>
                  <a:pt x="4430" y="7502"/>
                </a:cubicBezTo>
                <a:lnTo>
                  <a:pt x="4691" y="7621"/>
                </a:lnTo>
                <a:cubicBezTo>
                  <a:pt x="4441" y="8133"/>
                  <a:pt x="3918" y="8442"/>
                  <a:pt x="3346" y="8442"/>
                </a:cubicBezTo>
                <a:cubicBezTo>
                  <a:pt x="2786" y="8442"/>
                  <a:pt x="2263" y="8133"/>
                  <a:pt x="2013" y="7621"/>
                </a:cubicBezTo>
                <a:lnTo>
                  <a:pt x="2263" y="7502"/>
                </a:lnTo>
                <a:cubicBezTo>
                  <a:pt x="2453" y="7418"/>
                  <a:pt x="2584" y="7228"/>
                  <a:pt x="2584" y="7002"/>
                </a:cubicBezTo>
                <a:lnTo>
                  <a:pt x="2584" y="6585"/>
                </a:lnTo>
                <a:cubicBezTo>
                  <a:pt x="2822" y="6668"/>
                  <a:pt x="3084" y="6728"/>
                  <a:pt x="3346" y="6728"/>
                </a:cubicBezTo>
                <a:cubicBezTo>
                  <a:pt x="3620" y="6728"/>
                  <a:pt x="3870" y="6668"/>
                  <a:pt x="4108" y="6585"/>
                </a:cubicBezTo>
                <a:close/>
                <a:moveTo>
                  <a:pt x="3346" y="1"/>
                </a:moveTo>
                <a:cubicBezTo>
                  <a:pt x="2632" y="1"/>
                  <a:pt x="2060" y="513"/>
                  <a:pt x="2060" y="1120"/>
                </a:cubicBezTo>
                <a:cubicBezTo>
                  <a:pt x="2060" y="1179"/>
                  <a:pt x="2060" y="1227"/>
                  <a:pt x="2072" y="1287"/>
                </a:cubicBezTo>
                <a:cubicBezTo>
                  <a:pt x="1286" y="1727"/>
                  <a:pt x="750" y="2572"/>
                  <a:pt x="750" y="3561"/>
                </a:cubicBezTo>
                <a:cubicBezTo>
                  <a:pt x="750" y="4204"/>
                  <a:pt x="989" y="4811"/>
                  <a:pt x="1405" y="5287"/>
                </a:cubicBezTo>
                <a:cubicBezTo>
                  <a:pt x="1548" y="5751"/>
                  <a:pt x="1846" y="6156"/>
                  <a:pt x="2251" y="6406"/>
                </a:cubicBezTo>
                <a:lnTo>
                  <a:pt x="2251" y="7014"/>
                </a:lnTo>
                <a:cubicBezTo>
                  <a:pt x="2251" y="7085"/>
                  <a:pt x="2203" y="7168"/>
                  <a:pt x="2132" y="7192"/>
                </a:cubicBezTo>
                <a:lnTo>
                  <a:pt x="548" y="7895"/>
                </a:lnTo>
                <a:cubicBezTo>
                  <a:pt x="203" y="8037"/>
                  <a:pt x="0" y="8371"/>
                  <a:pt x="0" y="8740"/>
                </a:cubicBezTo>
                <a:lnTo>
                  <a:pt x="0" y="9942"/>
                </a:lnTo>
                <a:cubicBezTo>
                  <a:pt x="0" y="10050"/>
                  <a:pt x="72" y="10121"/>
                  <a:pt x="179" y="10121"/>
                </a:cubicBezTo>
                <a:cubicBezTo>
                  <a:pt x="286" y="10121"/>
                  <a:pt x="358" y="10050"/>
                  <a:pt x="358" y="9942"/>
                </a:cubicBezTo>
                <a:lnTo>
                  <a:pt x="358" y="8740"/>
                </a:lnTo>
                <a:cubicBezTo>
                  <a:pt x="358" y="8514"/>
                  <a:pt x="489" y="8311"/>
                  <a:pt x="703" y="8216"/>
                </a:cubicBezTo>
                <a:lnTo>
                  <a:pt x="1691" y="7776"/>
                </a:lnTo>
                <a:cubicBezTo>
                  <a:pt x="2013" y="8395"/>
                  <a:pt x="2644" y="8799"/>
                  <a:pt x="3358" y="8799"/>
                </a:cubicBezTo>
                <a:cubicBezTo>
                  <a:pt x="4072" y="8799"/>
                  <a:pt x="4715" y="8395"/>
                  <a:pt x="5025" y="7776"/>
                </a:cubicBezTo>
                <a:lnTo>
                  <a:pt x="6025" y="8216"/>
                </a:lnTo>
                <a:cubicBezTo>
                  <a:pt x="6239" y="8311"/>
                  <a:pt x="6370" y="8514"/>
                  <a:pt x="6370" y="8740"/>
                </a:cubicBezTo>
                <a:lnTo>
                  <a:pt x="6370" y="9942"/>
                </a:lnTo>
                <a:cubicBezTo>
                  <a:pt x="6370" y="10050"/>
                  <a:pt x="6442" y="10121"/>
                  <a:pt x="6549" y="10121"/>
                </a:cubicBezTo>
                <a:cubicBezTo>
                  <a:pt x="6656" y="10121"/>
                  <a:pt x="6727" y="10050"/>
                  <a:pt x="6727" y="9942"/>
                </a:cubicBezTo>
                <a:lnTo>
                  <a:pt x="6727" y="8740"/>
                </a:lnTo>
                <a:cubicBezTo>
                  <a:pt x="6704" y="8371"/>
                  <a:pt x="6489" y="8037"/>
                  <a:pt x="6144" y="7895"/>
                </a:cubicBezTo>
                <a:lnTo>
                  <a:pt x="4572" y="7192"/>
                </a:lnTo>
                <a:cubicBezTo>
                  <a:pt x="4501" y="7168"/>
                  <a:pt x="4453" y="7085"/>
                  <a:pt x="4453" y="7014"/>
                </a:cubicBezTo>
                <a:lnTo>
                  <a:pt x="4453" y="6406"/>
                </a:lnTo>
                <a:cubicBezTo>
                  <a:pt x="4858" y="6156"/>
                  <a:pt x="5156" y="5751"/>
                  <a:pt x="5299" y="5287"/>
                </a:cubicBezTo>
                <a:cubicBezTo>
                  <a:pt x="5715" y="4811"/>
                  <a:pt x="5954" y="4204"/>
                  <a:pt x="5954" y="3561"/>
                </a:cubicBezTo>
                <a:cubicBezTo>
                  <a:pt x="5954" y="2596"/>
                  <a:pt x="5418" y="1727"/>
                  <a:pt x="4632" y="1287"/>
                </a:cubicBezTo>
                <a:cubicBezTo>
                  <a:pt x="4644" y="1227"/>
                  <a:pt x="4644" y="1179"/>
                  <a:pt x="4644" y="1120"/>
                </a:cubicBezTo>
                <a:cubicBezTo>
                  <a:pt x="4644" y="513"/>
                  <a:pt x="4060" y="1"/>
                  <a:pt x="3346"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88" name="Google Shape;188;p22"/>
          <p:cNvSpPr/>
          <p:nvPr/>
        </p:nvSpPr>
        <p:spPr>
          <a:xfrm>
            <a:off x="10451216" y="4086891"/>
            <a:ext cx="15193" cy="46557"/>
          </a:xfrm>
          <a:custGeom>
            <a:avLst/>
            <a:gdLst/>
            <a:ahLst/>
            <a:cxnLst/>
            <a:rect l="l" t="t" r="r" b="b"/>
            <a:pathLst>
              <a:path w="358" h="1097" extrusionOk="0">
                <a:moveTo>
                  <a:pt x="179" y="1"/>
                </a:moveTo>
                <a:cubicBezTo>
                  <a:pt x="72" y="1"/>
                  <a:pt x="0" y="72"/>
                  <a:pt x="0" y="179"/>
                </a:cubicBezTo>
                <a:lnTo>
                  <a:pt x="0" y="918"/>
                </a:lnTo>
                <a:cubicBezTo>
                  <a:pt x="0" y="1025"/>
                  <a:pt x="72" y="1096"/>
                  <a:pt x="179" y="1096"/>
                </a:cubicBezTo>
                <a:cubicBezTo>
                  <a:pt x="286" y="1096"/>
                  <a:pt x="357" y="1025"/>
                  <a:pt x="357" y="918"/>
                </a:cubicBezTo>
                <a:lnTo>
                  <a:pt x="357" y="179"/>
                </a:lnTo>
                <a:cubicBezTo>
                  <a:pt x="345" y="84"/>
                  <a:pt x="262" y="1"/>
                  <a:pt x="179"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89" name="Google Shape;189;p22"/>
          <p:cNvSpPr/>
          <p:nvPr/>
        </p:nvSpPr>
        <p:spPr>
          <a:xfrm>
            <a:off x="10609856" y="4086891"/>
            <a:ext cx="15193" cy="46557"/>
          </a:xfrm>
          <a:custGeom>
            <a:avLst/>
            <a:gdLst/>
            <a:ahLst/>
            <a:cxnLst/>
            <a:rect l="l" t="t" r="r" b="b"/>
            <a:pathLst>
              <a:path w="358" h="1097" extrusionOk="0">
                <a:moveTo>
                  <a:pt x="179" y="1"/>
                </a:moveTo>
                <a:cubicBezTo>
                  <a:pt x="72" y="1"/>
                  <a:pt x="1" y="72"/>
                  <a:pt x="1" y="179"/>
                </a:cubicBezTo>
                <a:lnTo>
                  <a:pt x="1" y="918"/>
                </a:lnTo>
                <a:cubicBezTo>
                  <a:pt x="1" y="1025"/>
                  <a:pt x="72" y="1096"/>
                  <a:pt x="179" y="1096"/>
                </a:cubicBezTo>
                <a:cubicBezTo>
                  <a:pt x="275" y="1096"/>
                  <a:pt x="346" y="1025"/>
                  <a:pt x="346" y="918"/>
                </a:cubicBezTo>
                <a:lnTo>
                  <a:pt x="346" y="179"/>
                </a:lnTo>
                <a:cubicBezTo>
                  <a:pt x="358" y="84"/>
                  <a:pt x="275" y="1"/>
                  <a:pt x="179"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90" name="Google Shape;190;p22"/>
          <p:cNvSpPr/>
          <p:nvPr/>
        </p:nvSpPr>
        <p:spPr>
          <a:xfrm>
            <a:off x="10665962" y="3705397"/>
            <a:ext cx="238045" cy="248147"/>
          </a:xfrm>
          <a:custGeom>
            <a:avLst/>
            <a:gdLst/>
            <a:ahLst/>
            <a:cxnLst/>
            <a:rect l="l" t="t" r="r" b="b"/>
            <a:pathLst>
              <a:path w="5609" h="5847" extrusionOk="0">
                <a:moveTo>
                  <a:pt x="739" y="1"/>
                </a:moveTo>
                <a:cubicBezTo>
                  <a:pt x="346" y="1"/>
                  <a:pt x="0" y="322"/>
                  <a:pt x="0" y="739"/>
                </a:cubicBezTo>
                <a:lnTo>
                  <a:pt x="0" y="3751"/>
                </a:lnTo>
                <a:cubicBezTo>
                  <a:pt x="0" y="4144"/>
                  <a:pt x="322" y="4489"/>
                  <a:pt x="739" y="4489"/>
                </a:cubicBezTo>
                <a:lnTo>
                  <a:pt x="1084" y="4489"/>
                </a:lnTo>
                <a:lnTo>
                  <a:pt x="834" y="5513"/>
                </a:lnTo>
                <a:cubicBezTo>
                  <a:pt x="798" y="5620"/>
                  <a:pt x="846" y="5739"/>
                  <a:pt x="941" y="5799"/>
                </a:cubicBezTo>
                <a:cubicBezTo>
                  <a:pt x="977" y="5823"/>
                  <a:pt x="1036" y="5847"/>
                  <a:pt x="1084" y="5847"/>
                </a:cubicBezTo>
                <a:cubicBezTo>
                  <a:pt x="1143" y="5847"/>
                  <a:pt x="1191" y="5823"/>
                  <a:pt x="1250" y="5799"/>
                </a:cubicBezTo>
                <a:lnTo>
                  <a:pt x="3048" y="4489"/>
                </a:lnTo>
                <a:lnTo>
                  <a:pt x="4870" y="4489"/>
                </a:lnTo>
                <a:cubicBezTo>
                  <a:pt x="5263" y="4489"/>
                  <a:pt x="5608" y="4156"/>
                  <a:pt x="5608" y="3739"/>
                </a:cubicBezTo>
                <a:lnTo>
                  <a:pt x="5608" y="739"/>
                </a:lnTo>
                <a:cubicBezTo>
                  <a:pt x="5596" y="322"/>
                  <a:pt x="5263" y="1"/>
                  <a:pt x="4870" y="1"/>
                </a:cubicBezTo>
                <a:cubicBezTo>
                  <a:pt x="4763" y="1"/>
                  <a:pt x="4691" y="72"/>
                  <a:pt x="4691" y="179"/>
                </a:cubicBezTo>
                <a:cubicBezTo>
                  <a:pt x="4691" y="274"/>
                  <a:pt x="4763" y="346"/>
                  <a:pt x="4870" y="346"/>
                </a:cubicBezTo>
                <a:cubicBezTo>
                  <a:pt x="5072" y="346"/>
                  <a:pt x="5251" y="524"/>
                  <a:pt x="5251" y="739"/>
                </a:cubicBezTo>
                <a:lnTo>
                  <a:pt x="5251" y="3739"/>
                </a:lnTo>
                <a:cubicBezTo>
                  <a:pt x="5251" y="3953"/>
                  <a:pt x="5072" y="4132"/>
                  <a:pt x="4870" y="4132"/>
                </a:cubicBezTo>
                <a:lnTo>
                  <a:pt x="2989" y="4132"/>
                </a:lnTo>
                <a:cubicBezTo>
                  <a:pt x="2965" y="4132"/>
                  <a:pt x="2917" y="4144"/>
                  <a:pt x="2882" y="4156"/>
                </a:cubicBezTo>
                <a:lnTo>
                  <a:pt x="1215" y="5382"/>
                </a:lnTo>
                <a:lnTo>
                  <a:pt x="1477" y="4358"/>
                </a:lnTo>
                <a:cubicBezTo>
                  <a:pt x="1489" y="4299"/>
                  <a:pt x="1477" y="4251"/>
                  <a:pt x="1441" y="4203"/>
                </a:cubicBezTo>
                <a:cubicBezTo>
                  <a:pt x="1417" y="4156"/>
                  <a:pt x="1358" y="4132"/>
                  <a:pt x="1310" y="4132"/>
                </a:cubicBezTo>
                <a:lnTo>
                  <a:pt x="739" y="4132"/>
                </a:lnTo>
                <a:cubicBezTo>
                  <a:pt x="536" y="4132"/>
                  <a:pt x="358" y="3953"/>
                  <a:pt x="358" y="3739"/>
                </a:cubicBezTo>
                <a:lnTo>
                  <a:pt x="358" y="739"/>
                </a:lnTo>
                <a:cubicBezTo>
                  <a:pt x="358" y="524"/>
                  <a:pt x="536" y="346"/>
                  <a:pt x="739" y="346"/>
                </a:cubicBezTo>
                <a:cubicBezTo>
                  <a:pt x="846" y="346"/>
                  <a:pt x="917" y="274"/>
                  <a:pt x="917" y="179"/>
                </a:cubicBezTo>
                <a:cubicBezTo>
                  <a:pt x="917" y="72"/>
                  <a:pt x="846" y="1"/>
                  <a:pt x="739"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48"/>
                                        </p:tgtEl>
                                        <p:attrNameLst>
                                          <p:attrName>style.visibility</p:attrName>
                                        </p:attrNameLst>
                                      </p:cBhvr>
                                      <p:to>
                                        <p:strVal val="visible"/>
                                      </p:to>
                                    </p:set>
                                    <p:anim calcmode="lin" valueType="num">
                                      <p:cBhvr additive="base">
                                        <p:cTn id="7" dur="500" fill="hold"/>
                                        <p:tgtEl>
                                          <p:spTgt spid="148"/>
                                        </p:tgtEl>
                                        <p:attrNameLst>
                                          <p:attrName>ppt_x</p:attrName>
                                        </p:attrNameLst>
                                      </p:cBhvr>
                                      <p:tavLst>
                                        <p:tav tm="0">
                                          <p:val>
                                            <p:strVal val="#ppt_x"/>
                                          </p:val>
                                        </p:tav>
                                        <p:tav tm="100000">
                                          <p:val>
                                            <p:strVal val="#ppt_x"/>
                                          </p:val>
                                        </p:tav>
                                      </p:tavLst>
                                    </p:anim>
                                    <p:anim calcmode="lin" valueType="num">
                                      <p:cBhvr additive="base">
                                        <p:cTn id="8" dur="500" fill="hold"/>
                                        <p:tgtEl>
                                          <p:spTgt spid="14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53"/>
                                        </p:tgtEl>
                                        <p:attrNameLst>
                                          <p:attrName>style.visibility</p:attrName>
                                        </p:attrNameLst>
                                      </p:cBhvr>
                                      <p:to>
                                        <p:strVal val="visible"/>
                                      </p:to>
                                    </p:set>
                                    <p:anim calcmode="lin" valueType="num">
                                      <p:cBhvr additive="base">
                                        <p:cTn id="13" dur="500" fill="hold"/>
                                        <p:tgtEl>
                                          <p:spTgt spid="153"/>
                                        </p:tgtEl>
                                        <p:attrNameLst>
                                          <p:attrName>ppt_x</p:attrName>
                                        </p:attrNameLst>
                                      </p:cBhvr>
                                      <p:tavLst>
                                        <p:tav tm="0">
                                          <p:val>
                                            <p:strVal val="#ppt_x"/>
                                          </p:val>
                                        </p:tav>
                                        <p:tav tm="100000">
                                          <p:val>
                                            <p:strVal val="#ppt_x"/>
                                          </p:val>
                                        </p:tav>
                                      </p:tavLst>
                                    </p:anim>
                                    <p:anim calcmode="lin" valueType="num">
                                      <p:cBhvr additive="base">
                                        <p:cTn id="14" dur="500" fill="hold"/>
                                        <p:tgtEl>
                                          <p:spTgt spid="15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54"/>
                                        </p:tgtEl>
                                        <p:attrNameLst>
                                          <p:attrName>style.visibility</p:attrName>
                                        </p:attrNameLst>
                                      </p:cBhvr>
                                      <p:to>
                                        <p:strVal val="visible"/>
                                      </p:to>
                                    </p:set>
                                    <p:anim calcmode="lin" valueType="num">
                                      <p:cBhvr additive="base">
                                        <p:cTn id="19" dur="500" fill="hold"/>
                                        <p:tgtEl>
                                          <p:spTgt spid="154"/>
                                        </p:tgtEl>
                                        <p:attrNameLst>
                                          <p:attrName>ppt_x</p:attrName>
                                        </p:attrNameLst>
                                      </p:cBhvr>
                                      <p:tavLst>
                                        <p:tav tm="0">
                                          <p:val>
                                            <p:strVal val="#ppt_x"/>
                                          </p:val>
                                        </p:tav>
                                        <p:tav tm="100000">
                                          <p:val>
                                            <p:strVal val="#ppt_x"/>
                                          </p:val>
                                        </p:tav>
                                      </p:tavLst>
                                    </p:anim>
                                    <p:anim calcmode="lin" valueType="num">
                                      <p:cBhvr additive="base">
                                        <p:cTn id="20" dur="500" fill="hold"/>
                                        <p:tgtEl>
                                          <p:spTgt spid="154"/>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55"/>
                                        </p:tgtEl>
                                        <p:attrNameLst>
                                          <p:attrName>style.visibility</p:attrName>
                                        </p:attrNameLst>
                                      </p:cBhvr>
                                      <p:to>
                                        <p:strVal val="visible"/>
                                      </p:to>
                                    </p:set>
                                    <p:anim calcmode="lin" valueType="num">
                                      <p:cBhvr additive="base">
                                        <p:cTn id="25" dur="500" fill="hold"/>
                                        <p:tgtEl>
                                          <p:spTgt spid="155"/>
                                        </p:tgtEl>
                                        <p:attrNameLst>
                                          <p:attrName>ppt_x</p:attrName>
                                        </p:attrNameLst>
                                      </p:cBhvr>
                                      <p:tavLst>
                                        <p:tav tm="0">
                                          <p:val>
                                            <p:strVal val="#ppt_x"/>
                                          </p:val>
                                        </p:tav>
                                        <p:tav tm="100000">
                                          <p:val>
                                            <p:strVal val="#ppt_x"/>
                                          </p:val>
                                        </p:tav>
                                      </p:tavLst>
                                    </p:anim>
                                    <p:anim calcmode="lin" valueType="num">
                                      <p:cBhvr additive="base">
                                        <p:cTn id="26" dur="500" fill="hold"/>
                                        <p:tgtEl>
                                          <p:spTgt spid="155"/>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156">
                                            <p:txEl>
                                              <p:pRg st="0" end="0"/>
                                            </p:txEl>
                                          </p:spTgt>
                                        </p:tgtEl>
                                        <p:attrNameLst>
                                          <p:attrName>style.visibility</p:attrName>
                                        </p:attrNameLst>
                                      </p:cBhvr>
                                      <p:to>
                                        <p:strVal val="visible"/>
                                      </p:to>
                                    </p:set>
                                    <p:anim calcmode="lin" valueType="num">
                                      <p:cBhvr additive="base">
                                        <p:cTn id="31" dur="500" fill="hold"/>
                                        <p:tgtEl>
                                          <p:spTgt spid="156">
                                            <p:txEl>
                                              <p:pRg st="0" end="0"/>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156">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 grpId="0"/>
      <p:bldP spid="153" grpId="0"/>
      <p:bldP spid="154" grpId="0"/>
      <p:bldP spid="15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1" name="Group 100">
            <a:extLst>
              <a:ext uri="{FF2B5EF4-FFF2-40B4-BE49-F238E27FC236}">
                <a16:creationId xmlns:a16="http://schemas.microsoft.com/office/drawing/2014/main" id="{B4463207-6777-4CD1-AF89-E97D8E5A7E22}"/>
              </a:ext>
            </a:extLst>
          </p:cNvPr>
          <p:cNvGrpSpPr/>
          <p:nvPr/>
        </p:nvGrpSpPr>
        <p:grpSpPr>
          <a:xfrm>
            <a:off x="1176098" y="955030"/>
            <a:ext cx="10120483" cy="5313086"/>
            <a:chOff x="1726759" y="1485483"/>
            <a:chExt cx="10120483" cy="5313086"/>
          </a:xfrm>
        </p:grpSpPr>
        <p:sp>
          <p:nvSpPr>
            <p:cNvPr id="4" name="Freeform: Shape 3">
              <a:extLst>
                <a:ext uri="{FF2B5EF4-FFF2-40B4-BE49-F238E27FC236}">
                  <a16:creationId xmlns:a16="http://schemas.microsoft.com/office/drawing/2014/main" id="{38572062-8A3B-497E-8111-95C5582EBBC8}"/>
                </a:ext>
              </a:extLst>
            </p:cNvPr>
            <p:cNvSpPr/>
            <p:nvPr/>
          </p:nvSpPr>
          <p:spPr>
            <a:xfrm>
              <a:off x="2409214" y="1794966"/>
              <a:ext cx="7513431" cy="3882381"/>
            </a:xfrm>
            <a:custGeom>
              <a:avLst/>
              <a:gdLst>
                <a:gd name="connsiteX0" fmla="*/ 0 w 8515205"/>
                <a:gd name="connsiteY0" fmla="*/ 0 h 4533348"/>
                <a:gd name="connsiteX1" fmla="*/ 6596885 w 8515205"/>
                <a:gd name="connsiteY1" fmla="*/ 0 h 4533348"/>
                <a:gd name="connsiteX2" fmla="*/ 6596886 w 8515205"/>
                <a:gd name="connsiteY2" fmla="*/ 0 h 4533348"/>
                <a:gd name="connsiteX3" fmla="*/ 6610604 w 8515205"/>
                <a:gd name="connsiteY3" fmla="*/ 0 h 4533348"/>
                <a:gd name="connsiteX4" fmla="*/ 6610604 w 8515205"/>
                <a:gd name="connsiteY4" fmla="*/ 693 h 4533348"/>
                <a:gd name="connsiteX5" fmla="*/ 6719474 w 8515205"/>
                <a:gd name="connsiteY5" fmla="*/ 6190 h 4533348"/>
                <a:gd name="connsiteX6" fmla="*/ 7795869 w 8515205"/>
                <a:gd name="connsiteY6" fmla="*/ 1198984 h 4533348"/>
                <a:gd name="connsiteX7" fmla="*/ 6719474 w 8515205"/>
                <a:gd name="connsiteY7" fmla="*/ 2391778 h 4533348"/>
                <a:gd name="connsiteX8" fmla="*/ 6610603 w 8515205"/>
                <a:gd name="connsiteY8" fmla="*/ 2397275 h 4533348"/>
                <a:gd name="connsiteX9" fmla="*/ 6610603 w 8515205"/>
                <a:gd name="connsiteY9" fmla="*/ 2398726 h 4533348"/>
                <a:gd name="connsiteX10" fmla="*/ 1605528 w 8515205"/>
                <a:gd name="connsiteY10" fmla="*/ 2398726 h 4533348"/>
                <a:gd name="connsiteX11" fmla="*/ 1605528 w 8515205"/>
                <a:gd name="connsiteY11" fmla="*/ 2399037 h 4533348"/>
                <a:gd name="connsiteX12" fmla="*/ 670201 w 8515205"/>
                <a:gd name="connsiteY12" fmla="*/ 3334364 h 4533348"/>
                <a:gd name="connsiteX13" fmla="*/ 1509896 w 8515205"/>
                <a:gd name="connsiteY13" fmla="*/ 4264862 h 4533348"/>
                <a:gd name="connsiteX14" fmla="*/ 1603607 w 8515205"/>
                <a:gd name="connsiteY14" fmla="*/ 4269594 h 4533348"/>
                <a:gd name="connsiteX15" fmla="*/ 8515205 w 8515205"/>
                <a:gd name="connsiteY15" fmla="*/ 4269594 h 4533348"/>
                <a:gd name="connsiteX16" fmla="*/ 8515205 w 8515205"/>
                <a:gd name="connsiteY16" fmla="*/ 4533347 h 4533348"/>
                <a:gd name="connsiteX17" fmla="*/ 1605528 w 8515205"/>
                <a:gd name="connsiteY17" fmla="*/ 4533347 h 4533348"/>
                <a:gd name="connsiteX18" fmla="*/ 1605528 w 8515205"/>
                <a:gd name="connsiteY18" fmla="*/ 4533348 h 4533348"/>
                <a:gd name="connsiteX19" fmla="*/ 1605510 w 8515205"/>
                <a:gd name="connsiteY19" fmla="*/ 4533347 h 4533348"/>
                <a:gd name="connsiteX20" fmla="*/ 1600200 w 8515205"/>
                <a:gd name="connsiteY20" fmla="*/ 4533347 h 4533348"/>
                <a:gd name="connsiteX21" fmla="*/ 1600200 w 8515205"/>
                <a:gd name="connsiteY21" fmla="*/ 4533079 h 4533348"/>
                <a:gd name="connsiteX22" fmla="*/ 1482939 w 8515205"/>
                <a:gd name="connsiteY22" fmla="*/ 4527158 h 4533348"/>
                <a:gd name="connsiteX23" fmla="*/ 406544 w 8515205"/>
                <a:gd name="connsiteY23" fmla="*/ 3334364 h 4533348"/>
                <a:gd name="connsiteX24" fmla="*/ 1482939 w 8515205"/>
                <a:gd name="connsiteY24" fmla="*/ 2141570 h 4533348"/>
                <a:gd name="connsiteX25" fmla="*/ 1600199 w 8515205"/>
                <a:gd name="connsiteY25" fmla="*/ 2135649 h 4533348"/>
                <a:gd name="connsiteX26" fmla="*/ 1600199 w 8515205"/>
                <a:gd name="connsiteY26" fmla="*/ 2135380 h 4533348"/>
                <a:gd name="connsiteX27" fmla="*/ 1605528 w 8515205"/>
                <a:gd name="connsiteY27" fmla="*/ 2135380 h 4533348"/>
                <a:gd name="connsiteX28" fmla="*/ 6596885 w 8515205"/>
                <a:gd name="connsiteY28" fmla="*/ 2135380 h 4533348"/>
                <a:gd name="connsiteX29" fmla="*/ 6596885 w 8515205"/>
                <a:gd name="connsiteY29" fmla="*/ 2134311 h 4533348"/>
                <a:gd name="connsiteX30" fmla="*/ 7532212 w 8515205"/>
                <a:gd name="connsiteY30" fmla="*/ 1198984 h 4533348"/>
                <a:gd name="connsiteX31" fmla="*/ 6596885 w 8515205"/>
                <a:gd name="connsiteY31" fmla="*/ 263657 h 4533348"/>
                <a:gd name="connsiteX32" fmla="*/ 6596885 w 8515205"/>
                <a:gd name="connsiteY32" fmla="*/ 263346 h 4533348"/>
                <a:gd name="connsiteX33" fmla="*/ 0 w 8515205"/>
                <a:gd name="connsiteY33" fmla="*/ 263346 h 453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515205" h="4533348">
                  <a:moveTo>
                    <a:pt x="0" y="0"/>
                  </a:moveTo>
                  <a:lnTo>
                    <a:pt x="6596885" y="0"/>
                  </a:lnTo>
                  <a:lnTo>
                    <a:pt x="6596886" y="0"/>
                  </a:lnTo>
                  <a:lnTo>
                    <a:pt x="6610604" y="0"/>
                  </a:lnTo>
                  <a:lnTo>
                    <a:pt x="6610604" y="693"/>
                  </a:lnTo>
                  <a:lnTo>
                    <a:pt x="6719474" y="6190"/>
                  </a:lnTo>
                  <a:cubicBezTo>
                    <a:pt x="7324070" y="67590"/>
                    <a:pt x="7795869" y="578189"/>
                    <a:pt x="7795869" y="1198984"/>
                  </a:cubicBezTo>
                  <a:cubicBezTo>
                    <a:pt x="7795869" y="1819779"/>
                    <a:pt x="7324070" y="2330378"/>
                    <a:pt x="6719474" y="2391778"/>
                  </a:cubicBezTo>
                  <a:lnTo>
                    <a:pt x="6610603" y="2397275"/>
                  </a:lnTo>
                  <a:lnTo>
                    <a:pt x="6610603" y="2398726"/>
                  </a:lnTo>
                  <a:lnTo>
                    <a:pt x="1605528" y="2398726"/>
                  </a:lnTo>
                  <a:lnTo>
                    <a:pt x="1605528" y="2399037"/>
                  </a:lnTo>
                  <a:cubicBezTo>
                    <a:pt x="1088961" y="2399037"/>
                    <a:pt x="670201" y="2817797"/>
                    <a:pt x="670201" y="3334364"/>
                  </a:cubicBezTo>
                  <a:cubicBezTo>
                    <a:pt x="670201" y="3818645"/>
                    <a:pt x="1038252" y="4216964"/>
                    <a:pt x="1509896" y="4264862"/>
                  </a:cubicBezTo>
                  <a:lnTo>
                    <a:pt x="1603607" y="4269594"/>
                  </a:lnTo>
                  <a:lnTo>
                    <a:pt x="8515205" y="4269594"/>
                  </a:lnTo>
                  <a:lnTo>
                    <a:pt x="8515205" y="4533347"/>
                  </a:lnTo>
                  <a:lnTo>
                    <a:pt x="1605528" y="4533347"/>
                  </a:lnTo>
                  <a:lnTo>
                    <a:pt x="1605528" y="4533348"/>
                  </a:lnTo>
                  <a:lnTo>
                    <a:pt x="1605510" y="4533347"/>
                  </a:lnTo>
                  <a:lnTo>
                    <a:pt x="1600200" y="4533347"/>
                  </a:lnTo>
                  <a:lnTo>
                    <a:pt x="1600200" y="4533079"/>
                  </a:lnTo>
                  <a:lnTo>
                    <a:pt x="1482939" y="4527158"/>
                  </a:lnTo>
                  <a:cubicBezTo>
                    <a:pt x="878343" y="4465758"/>
                    <a:pt x="406544" y="3955158"/>
                    <a:pt x="406544" y="3334364"/>
                  </a:cubicBezTo>
                  <a:cubicBezTo>
                    <a:pt x="406544" y="2713569"/>
                    <a:pt x="878343" y="2202970"/>
                    <a:pt x="1482939" y="2141570"/>
                  </a:cubicBezTo>
                  <a:lnTo>
                    <a:pt x="1600199" y="2135649"/>
                  </a:lnTo>
                  <a:lnTo>
                    <a:pt x="1600199" y="2135380"/>
                  </a:lnTo>
                  <a:lnTo>
                    <a:pt x="1605528" y="2135380"/>
                  </a:lnTo>
                  <a:lnTo>
                    <a:pt x="6596885" y="2135380"/>
                  </a:lnTo>
                  <a:lnTo>
                    <a:pt x="6596885" y="2134311"/>
                  </a:lnTo>
                  <a:cubicBezTo>
                    <a:pt x="7113452" y="2134311"/>
                    <a:pt x="7532212" y="1715551"/>
                    <a:pt x="7532212" y="1198984"/>
                  </a:cubicBezTo>
                  <a:cubicBezTo>
                    <a:pt x="7532212" y="682417"/>
                    <a:pt x="7113452" y="263657"/>
                    <a:pt x="6596885" y="263657"/>
                  </a:cubicBezTo>
                  <a:lnTo>
                    <a:pt x="6596885" y="263346"/>
                  </a:lnTo>
                  <a:lnTo>
                    <a:pt x="0" y="263346"/>
                  </a:lnTo>
                  <a:close/>
                </a:path>
              </a:pathLst>
            </a:cu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 name="Group 4">
              <a:extLst>
                <a:ext uri="{FF2B5EF4-FFF2-40B4-BE49-F238E27FC236}">
                  <a16:creationId xmlns:a16="http://schemas.microsoft.com/office/drawing/2014/main" id="{881AABDD-4B3E-4820-8223-8BDDCAF616B9}"/>
                </a:ext>
              </a:extLst>
            </p:cNvPr>
            <p:cNvGrpSpPr/>
            <p:nvPr/>
          </p:nvGrpSpPr>
          <p:grpSpPr>
            <a:xfrm>
              <a:off x="8397562" y="1497791"/>
              <a:ext cx="1255208" cy="2629985"/>
              <a:chOff x="8551022" y="1401707"/>
              <a:chExt cx="1422566" cy="3010450"/>
            </a:xfrm>
          </p:grpSpPr>
          <p:sp>
            <p:nvSpPr>
              <p:cNvPr id="6" name="Isosceles Triangle 5">
                <a:extLst>
                  <a:ext uri="{FF2B5EF4-FFF2-40B4-BE49-F238E27FC236}">
                    <a16:creationId xmlns:a16="http://schemas.microsoft.com/office/drawing/2014/main" id="{B1B6C600-50D7-4DC2-B02E-FE20AE76C740}"/>
                  </a:ext>
                </a:extLst>
              </p:cNvPr>
              <p:cNvSpPr/>
              <p:nvPr/>
            </p:nvSpPr>
            <p:spPr>
              <a:xfrm rot="5400000">
                <a:off x="8540371" y="1412358"/>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Isosceles Triangle 6">
                <a:extLst>
                  <a:ext uri="{FF2B5EF4-FFF2-40B4-BE49-F238E27FC236}">
                    <a16:creationId xmlns:a16="http://schemas.microsoft.com/office/drawing/2014/main" id="{E2EA686B-0DBA-46B4-A776-A304BA8C149D}"/>
                  </a:ext>
                </a:extLst>
              </p:cNvPr>
              <p:cNvSpPr/>
              <p:nvPr/>
            </p:nvSpPr>
            <p:spPr>
              <a:xfrm rot="5892245">
                <a:off x="8742634" y="1424872"/>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Isosceles Triangle 7">
                <a:extLst>
                  <a:ext uri="{FF2B5EF4-FFF2-40B4-BE49-F238E27FC236}">
                    <a16:creationId xmlns:a16="http://schemas.microsoft.com/office/drawing/2014/main" id="{C754687B-67D1-4426-9A58-249A7DD348E5}"/>
                  </a:ext>
                </a:extLst>
              </p:cNvPr>
              <p:cNvSpPr/>
              <p:nvPr/>
            </p:nvSpPr>
            <p:spPr>
              <a:xfrm rot="6467866">
                <a:off x="8944897" y="1500768"/>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Isosceles Triangle 8">
                <a:extLst>
                  <a:ext uri="{FF2B5EF4-FFF2-40B4-BE49-F238E27FC236}">
                    <a16:creationId xmlns:a16="http://schemas.microsoft.com/office/drawing/2014/main" id="{2119A14C-8AB7-41A4-908B-DB37526E47E9}"/>
                  </a:ext>
                </a:extLst>
              </p:cNvPr>
              <p:cNvSpPr/>
              <p:nvPr/>
            </p:nvSpPr>
            <p:spPr>
              <a:xfrm rot="7166443">
                <a:off x="9139284" y="1580855"/>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Isosceles Triangle 9">
                <a:extLst>
                  <a:ext uri="{FF2B5EF4-FFF2-40B4-BE49-F238E27FC236}">
                    <a16:creationId xmlns:a16="http://schemas.microsoft.com/office/drawing/2014/main" id="{5B6521B9-F0B1-4062-855D-EF85AEFE4023}"/>
                  </a:ext>
                </a:extLst>
              </p:cNvPr>
              <p:cNvSpPr/>
              <p:nvPr/>
            </p:nvSpPr>
            <p:spPr>
              <a:xfrm rot="7552672">
                <a:off x="9315757" y="1698482"/>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Isosceles Triangle 10">
                <a:extLst>
                  <a:ext uri="{FF2B5EF4-FFF2-40B4-BE49-F238E27FC236}">
                    <a16:creationId xmlns:a16="http://schemas.microsoft.com/office/drawing/2014/main" id="{60112F6B-0AE9-4057-8ECB-7067A88EF53E}"/>
                  </a:ext>
                </a:extLst>
              </p:cNvPr>
              <p:cNvSpPr/>
              <p:nvPr/>
            </p:nvSpPr>
            <p:spPr>
              <a:xfrm rot="8329341">
                <a:off x="9465563" y="1828647"/>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Isosceles Triangle 11">
                <a:extLst>
                  <a:ext uri="{FF2B5EF4-FFF2-40B4-BE49-F238E27FC236}">
                    <a16:creationId xmlns:a16="http://schemas.microsoft.com/office/drawing/2014/main" id="{09B618DA-DE3A-4568-ADE5-703ABC46FD0C}"/>
                  </a:ext>
                </a:extLst>
              </p:cNvPr>
              <p:cNvSpPr/>
              <p:nvPr/>
            </p:nvSpPr>
            <p:spPr>
              <a:xfrm rot="8717415">
                <a:off x="9603676" y="2008563"/>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Isosceles Triangle 12">
                <a:extLst>
                  <a:ext uri="{FF2B5EF4-FFF2-40B4-BE49-F238E27FC236}">
                    <a16:creationId xmlns:a16="http://schemas.microsoft.com/office/drawing/2014/main" id="{3E60C17C-2E08-4747-894B-01EE7B6B6F20}"/>
                  </a:ext>
                </a:extLst>
              </p:cNvPr>
              <p:cNvSpPr/>
              <p:nvPr/>
            </p:nvSpPr>
            <p:spPr>
              <a:xfrm rot="9382219">
                <a:off x="9727504" y="2217059"/>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 name="Isosceles Triangle 13">
                <a:extLst>
                  <a:ext uri="{FF2B5EF4-FFF2-40B4-BE49-F238E27FC236}">
                    <a16:creationId xmlns:a16="http://schemas.microsoft.com/office/drawing/2014/main" id="{C1DF94E4-84A9-43BC-A6FC-D45027EE75DB}"/>
                  </a:ext>
                </a:extLst>
              </p:cNvPr>
              <p:cNvSpPr/>
              <p:nvPr/>
            </p:nvSpPr>
            <p:spPr>
              <a:xfrm rot="9823366">
                <a:off x="9806085" y="2440218"/>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Isosceles Triangle 14">
                <a:extLst>
                  <a:ext uri="{FF2B5EF4-FFF2-40B4-BE49-F238E27FC236}">
                    <a16:creationId xmlns:a16="http://schemas.microsoft.com/office/drawing/2014/main" id="{E0264C2D-29AD-46C5-95DC-C1A1DA07CCB7}"/>
                  </a:ext>
                </a:extLst>
              </p:cNvPr>
              <p:cNvSpPr/>
              <p:nvPr/>
            </p:nvSpPr>
            <p:spPr>
              <a:xfrm rot="10315961">
                <a:off x="9848947" y="2674051"/>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Isosceles Triangle 15">
                <a:extLst>
                  <a:ext uri="{FF2B5EF4-FFF2-40B4-BE49-F238E27FC236}">
                    <a16:creationId xmlns:a16="http://schemas.microsoft.com/office/drawing/2014/main" id="{74B65E5D-F2DD-4C3E-9C3D-EE5861081347}"/>
                  </a:ext>
                </a:extLst>
              </p:cNvPr>
              <p:cNvSpPr/>
              <p:nvPr/>
            </p:nvSpPr>
            <p:spPr>
              <a:xfrm rot="10800000">
                <a:off x="9860854" y="2893150"/>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Isosceles Triangle 16">
                <a:extLst>
                  <a:ext uri="{FF2B5EF4-FFF2-40B4-BE49-F238E27FC236}">
                    <a16:creationId xmlns:a16="http://schemas.microsoft.com/office/drawing/2014/main" id="{21FED4E1-7BCA-4272-9EF6-7C4A86522C13}"/>
                  </a:ext>
                </a:extLst>
              </p:cNvPr>
              <p:cNvSpPr/>
              <p:nvPr/>
            </p:nvSpPr>
            <p:spPr>
              <a:xfrm rot="11453211">
                <a:off x="9844185" y="3099905"/>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Isosceles Triangle 17">
                <a:extLst>
                  <a:ext uri="{FF2B5EF4-FFF2-40B4-BE49-F238E27FC236}">
                    <a16:creationId xmlns:a16="http://schemas.microsoft.com/office/drawing/2014/main" id="{8A20A347-B49E-4796-80CC-EF2FBB5A73D4}"/>
                  </a:ext>
                </a:extLst>
              </p:cNvPr>
              <p:cNvSpPr/>
              <p:nvPr/>
            </p:nvSpPr>
            <p:spPr>
              <a:xfrm rot="12012083">
                <a:off x="9794180" y="3318848"/>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Isosceles Triangle 18">
                <a:extLst>
                  <a:ext uri="{FF2B5EF4-FFF2-40B4-BE49-F238E27FC236}">
                    <a16:creationId xmlns:a16="http://schemas.microsoft.com/office/drawing/2014/main" id="{5639BA9F-E8A5-4646-99BA-6B68EB12C42A}"/>
                  </a:ext>
                </a:extLst>
              </p:cNvPr>
              <p:cNvSpPr/>
              <p:nvPr/>
            </p:nvSpPr>
            <p:spPr>
              <a:xfrm rot="12415846">
                <a:off x="9703693" y="3536887"/>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0" name="Isosceles Triangle 19">
                <a:extLst>
                  <a:ext uri="{FF2B5EF4-FFF2-40B4-BE49-F238E27FC236}">
                    <a16:creationId xmlns:a16="http://schemas.microsoft.com/office/drawing/2014/main" id="{F06827F9-A49A-4E3F-A34C-BB96084888BF}"/>
                  </a:ext>
                </a:extLst>
              </p:cNvPr>
              <p:cNvSpPr/>
              <p:nvPr/>
            </p:nvSpPr>
            <p:spPr>
              <a:xfrm rot="13020737">
                <a:off x="9571074" y="3763270"/>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Isosceles Triangle 20">
                <a:extLst>
                  <a:ext uri="{FF2B5EF4-FFF2-40B4-BE49-F238E27FC236}">
                    <a16:creationId xmlns:a16="http://schemas.microsoft.com/office/drawing/2014/main" id="{598C9495-5251-4C15-88AB-2A8146BAADD4}"/>
                  </a:ext>
                </a:extLst>
              </p:cNvPr>
              <p:cNvSpPr/>
              <p:nvPr/>
            </p:nvSpPr>
            <p:spPr>
              <a:xfrm rot="13987919">
                <a:off x="9420561" y="3939761"/>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 name="Isosceles Triangle 21">
                <a:extLst>
                  <a:ext uri="{FF2B5EF4-FFF2-40B4-BE49-F238E27FC236}">
                    <a16:creationId xmlns:a16="http://schemas.microsoft.com/office/drawing/2014/main" id="{87FA9E9D-94E0-4A61-8BF6-D48716C9D826}"/>
                  </a:ext>
                </a:extLst>
              </p:cNvPr>
              <p:cNvSpPr/>
              <p:nvPr/>
            </p:nvSpPr>
            <p:spPr>
              <a:xfrm rot="14412693">
                <a:off x="9242973" y="4082416"/>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3" name="Isosceles Triangle 22">
                <a:extLst>
                  <a:ext uri="{FF2B5EF4-FFF2-40B4-BE49-F238E27FC236}">
                    <a16:creationId xmlns:a16="http://schemas.microsoft.com/office/drawing/2014/main" id="{A11EE88D-9A9A-4278-BD08-B0C6D69D34FA}"/>
                  </a:ext>
                </a:extLst>
              </p:cNvPr>
              <p:cNvSpPr/>
              <p:nvPr/>
            </p:nvSpPr>
            <p:spPr>
              <a:xfrm rot="15036362">
                <a:off x="9056689" y="4185028"/>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 name="Isosceles Triangle 23">
                <a:extLst>
                  <a:ext uri="{FF2B5EF4-FFF2-40B4-BE49-F238E27FC236}">
                    <a16:creationId xmlns:a16="http://schemas.microsoft.com/office/drawing/2014/main" id="{3EC5DBDB-EC44-4569-A703-7FE53542C426}"/>
                  </a:ext>
                </a:extLst>
              </p:cNvPr>
              <p:cNvSpPr/>
              <p:nvPr/>
            </p:nvSpPr>
            <p:spPr>
              <a:xfrm rot="15653508">
                <a:off x="8846474" y="4279296"/>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Isosceles Triangle 24">
                <a:extLst>
                  <a:ext uri="{FF2B5EF4-FFF2-40B4-BE49-F238E27FC236}">
                    <a16:creationId xmlns:a16="http://schemas.microsoft.com/office/drawing/2014/main" id="{ABDB8F46-1FEA-486E-9CA5-0126F06F08DB}"/>
                  </a:ext>
                </a:extLst>
              </p:cNvPr>
              <p:cNvSpPr/>
              <p:nvPr/>
            </p:nvSpPr>
            <p:spPr>
              <a:xfrm rot="16200000">
                <a:off x="8636260" y="4304323"/>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6" name="Group 25">
              <a:extLst>
                <a:ext uri="{FF2B5EF4-FFF2-40B4-BE49-F238E27FC236}">
                  <a16:creationId xmlns:a16="http://schemas.microsoft.com/office/drawing/2014/main" id="{8350ABD8-A99F-40CC-8D8F-B2F42DD5FFD9}"/>
                </a:ext>
              </a:extLst>
            </p:cNvPr>
            <p:cNvGrpSpPr/>
            <p:nvPr/>
          </p:nvGrpSpPr>
          <p:grpSpPr>
            <a:xfrm>
              <a:off x="1726759" y="1485483"/>
              <a:ext cx="847636" cy="848053"/>
              <a:chOff x="1063364" y="1223730"/>
              <a:chExt cx="990248" cy="990248"/>
            </a:xfrm>
          </p:grpSpPr>
          <p:sp>
            <p:nvSpPr>
              <p:cNvPr id="27" name="Oval 26">
                <a:extLst>
                  <a:ext uri="{FF2B5EF4-FFF2-40B4-BE49-F238E27FC236}">
                    <a16:creationId xmlns:a16="http://schemas.microsoft.com/office/drawing/2014/main" id="{E936E5B9-8DF2-423E-AA86-6674A9C955B2}"/>
                  </a:ext>
                </a:extLst>
              </p:cNvPr>
              <p:cNvSpPr/>
              <p:nvPr/>
            </p:nvSpPr>
            <p:spPr>
              <a:xfrm>
                <a:off x="1063364" y="1223730"/>
                <a:ext cx="990248" cy="9902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dirty="0"/>
              </a:p>
            </p:txBody>
          </p:sp>
          <p:sp>
            <p:nvSpPr>
              <p:cNvPr id="28" name="Oval 27">
                <a:extLst>
                  <a:ext uri="{FF2B5EF4-FFF2-40B4-BE49-F238E27FC236}">
                    <a16:creationId xmlns:a16="http://schemas.microsoft.com/office/drawing/2014/main" id="{ABE35DE8-6834-4496-A687-7A9AF174A731}"/>
                  </a:ext>
                </a:extLst>
              </p:cNvPr>
              <p:cNvSpPr/>
              <p:nvPr/>
            </p:nvSpPr>
            <p:spPr>
              <a:xfrm>
                <a:off x="1131935" y="1292301"/>
                <a:ext cx="853106" cy="853106"/>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IN" dirty="0"/>
                  <a:t>START</a:t>
                </a:r>
              </a:p>
            </p:txBody>
          </p:sp>
        </p:grpSp>
        <p:grpSp>
          <p:nvGrpSpPr>
            <p:cNvPr id="29" name="Group 28">
              <a:extLst>
                <a:ext uri="{FF2B5EF4-FFF2-40B4-BE49-F238E27FC236}">
                  <a16:creationId xmlns:a16="http://schemas.microsoft.com/office/drawing/2014/main" id="{6696626A-8C5B-48CB-9E1B-034207893D65}"/>
                </a:ext>
              </a:extLst>
            </p:cNvPr>
            <p:cNvGrpSpPr/>
            <p:nvPr/>
          </p:nvGrpSpPr>
          <p:grpSpPr>
            <a:xfrm>
              <a:off x="9490561" y="5108124"/>
              <a:ext cx="847636" cy="848053"/>
              <a:chOff x="1063364" y="1223730"/>
              <a:chExt cx="990248" cy="990248"/>
            </a:xfrm>
          </p:grpSpPr>
          <p:sp>
            <p:nvSpPr>
              <p:cNvPr id="30" name="Oval 29">
                <a:extLst>
                  <a:ext uri="{FF2B5EF4-FFF2-40B4-BE49-F238E27FC236}">
                    <a16:creationId xmlns:a16="http://schemas.microsoft.com/office/drawing/2014/main" id="{B2F8A4E8-65CA-4474-B947-BE982461A392}"/>
                  </a:ext>
                </a:extLst>
              </p:cNvPr>
              <p:cNvSpPr/>
              <p:nvPr/>
            </p:nvSpPr>
            <p:spPr>
              <a:xfrm>
                <a:off x="1063364" y="1223730"/>
                <a:ext cx="990248" cy="9902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dirty="0"/>
              </a:p>
            </p:txBody>
          </p:sp>
          <p:sp>
            <p:nvSpPr>
              <p:cNvPr id="31" name="Oval 30">
                <a:extLst>
                  <a:ext uri="{FF2B5EF4-FFF2-40B4-BE49-F238E27FC236}">
                    <a16:creationId xmlns:a16="http://schemas.microsoft.com/office/drawing/2014/main" id="{263F770C-4A36-4307-A9B8-C65CD854A4D0}"/>
                  </a:ext>
                </a:extLst>
              </p:cNvPr>
              <p:cNvSpPr/>
              <p:nvPr/>
            </p:nvSpPr>
            <p:spPr>
              <a:xfrm>
                <a:off x="1131935" y="1292301"/>
                <a:ext cx="853106" cy="853106"/>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IN" dirty="0"/>
                  <a:t>FINISH</a:t>
                </a:r>
              </a:p>
            </p:txBody>
          </p:sp>
        </p:grpSp>
        <p:sp>
          <p:nvSpPr>
            <p:cNvPr id="32" name="TextBox 31">
              <a:extLst>
                <a:ext uri="{FF2B5EF4-FFF2-40B4-BE49-F238E27FC236}">
                  <a16:creationId xmlns:a16="http://schemas.microsoft.com/office/drawing/2014/main" id="{363110BA-4155-4AAE-A21A-1EE3B558178B}"/>
                </a:ext>
              </a:extLst>
            </p:cNvPr>
            <p:cNvSpPr txBox="1"/>
            <p:nvPr/>
          </p:nvSpPr>
          <p:spPr>
            <a:xfrm>
              <a:off x="4197961" y="2652297"/>
              <a:ext cx="1789384" cy="646331"/>
            </a:xfrm>
            <a:prstGeom prst="rect">
              <a:avLst/>
            </a:prstGeom>
            <a:noFill/>
          </p:spPr>
          <p:txBody>
            <a:bodyPr wrap="square" lIns="0" tIns="0" rIns="0" bIns="0" rtlCol="0">
              <a:spAutoFit/>
            </a:bodyPr>
            <a:lstStyle/>
            <a:p>
              <a:pPr algn="ctr"/>
              <a:r>
                <a:rPr lang="en-US" sz="1050" kern="0" dirty="0">
                  <a:latin typeface="Arial" pitchFamily="34" charset="0"/>
                  <a:cs typeface="Arial" pitchFamily="34" charset="0"/>
                </a:rPr>
                <a:t>Qualify, Finalize scope , Cloud Orientation, Delivery Approach, Risk identification, Define success criteria</a:t>
              </a:r>
            </a:p>
          </p:txBody>
        </p:sp>
        <p:sp>
          <p:nvSpPr>
            <p:cNvPr id="33" name="TextBox 32">
              <a:extLst>
                <a:ext uri="{FF2B5EF4-FFF2-40B4-BE49-F238E27FC236}">
                  <a16:creationId xmlns:a16="http://schemas.microsoft.com/office/drawing/2014/main" id="{B7A391CC-F108-4F69-85AD-FAC33D2B21A7}"/>
                </a:ext>
              </a:extLst>
            </p:cNvPr>
            <p:cNvSpPr txBox="1"/>
            <p:nvPr/>
          </p:nvSpPr>
          <p:spPr>
            <a:xfrm>
              <a:off x="4009928" y="2340471"/>
              <a:ext cx="2143253" cy="215444"/>
            </a:xfrm>
            <a:prstGeom prst="rect">
              <a:avLst/>
            </a:prstGeom>
            <a:noFill/>
          </p:spPr>
          <p:txBody>
            <a:bodyPr wrap="square" lIns="0" tIns="0" rIns="0" bIns="0" rtlCol="0" anchor="b">
              <a:spAutoFit/>
            </a:bodyPr>
            <a:lstStyle/>
            <a:p>
              <a:pPr algn="ctr"/>
              <a:r>
                <a:rPr lang="en-US" sz="1400" b="1" kern="0" dirty="0">
                  <a:solidFill>
                    <a:schemeClr val="tx1">
                      <a:lumMod val="75000"/>
                      <a:lumOff val="25000"/>
                    </a:schemeClr>
                  </a:solidFill>
                  <a:latin typeface="Arial" pitchFamily="34" charset="0"/>
                  <a:cs typeface="Arial" pitchFamily="34" charset="0"/>
                </a:rPr>
                <a:t>Analyze &amp;Plan </a:t>
              </a:r>
            </a:p>
          </p:txBody>
        </p:sp>
        <p:sp>
          <p:nvSpPr>
            <p:cNvPr id="34" name="TextBox 33">
              <a:extLst>
                <a:ext uri="{FF2B5EF4-FFF2-40B4-BE49-F238E27FC236}">
                  <a16:creationId xmlns:a16="http://schemas.microsoft.com/office/drawing/2014/main" id="{99FDFEFD-B14A-4B76-92A7-462B60B4CCA9}"/>
                </a:ext>
              </a:extLst>
            </p:cNvPr>
            <p:cNvSpPr txBox="1"/>
            <p:nvPr/>
          </p:nvSpPr>
          <p:spPr>
            <a:xfrm>
              <a:off x="7021914" y="2652297"/>
              <a:ext cx="1884198" cy="484748"/>
            </a:xfrm>
            <a:prstGeom prst="rect">
              <a:avLst/>
            </a:prstGeom>
            <a:noFill/>
          </p:spPr>
          <p:txBody>
            <a:bodyPr wrap="square" lIns="0" tIns="0" rIns="0" bIns="0" rtlCol="0">
              <a:spAutoFit/>
            </a:bodyPr>
            <a:lstStyle/>
            <a:p>
              <a:pPr algn="ctr"/>
              <a:r>
                <a:rPr lang="en-US" sz="1050" kern="0" dirty="0">
                  <a:latin typeface="Arial" pitchFamily="34" charset="0"/>
                  <a:cs typeface="Arial" pitchFamily="34" charset="0"/>
                </a:rPr>
                <a:t>Solution and Architecture Design, Initial validation , Identify gaps</a:t>
              </a:r>
            </a:p>
          </p:txBody>
        </p:sp>
        <p:sp>
          <p:nvSpPr>
            <p:cNvPr id="35" name="TextBox 34">
              <a:extLst>
                <a:ext uri="{FF2B5EF4-FFF2-40B4-BE49-F238E27FC236}">
                  <a16:creationId xmlns:a16="http://schemas.microsoft.com/office/drawing/2014/main" id="{E316776F-8758-4149-A87D-D8AA4F2D52D5}"/>
                </a:ext>
              </a:extLst>
            </p:cNvPr>
            <p:cNvSpPr txBox="1"/>
            <p:nvPr/>
          </p:nvSpPr>
          <p:spPr>
            <a:xfrm>
              <a:off x="7021914" y="2380045"/>
              <a:ext cx="1611315" cy="215444"/>
            </a:xfrm>
            <a:prstGeom prst="rect">
              <a:avLst/>
            </a:prstGeom>
            <a:noFill/>
          </p:spPr>
          <p:txBody>
            <a:bodyPr wrap="square" lIns="0" tIns="0" rIns="0" bIns="0" rtlCol="0" anchor="b">
              <a:spAutoFit/>
            </a:bodyPr>
            <a:lstStyle/>
            <a:p>
              <a:pPr algn="ctr"/>
              <a:r>
                <a:rPr lang="en-US" sz="1400" b="1" kern="0" dirty="0">
                  <a:solidFill>
                    <a:schemeClr val="tx1">
                      <a:lumMod val="75000"/>
                      <a:lumOff val="25000"/>
                    </a:schemeClr>
                  </a:solidFill>
                  <a:latin typeface="Arial" pitchFamily="34" charset="0"/>
                  <a:cs typeface="Arial" pitchFamily="34" charset="0"/>
                </a:rPr>
                <a:t>Design &amp; Develop </a:t>
              </a:r>
            </a:p>
          </p:txBody>
        </p:sp>
        <p:sp>
          <p:nvSpPr>
            <p:cNvPr id="36" name="Isosceles Triangle 35">
              <a:extLst>
                <a:ext uri="{FF2B5EF4-FFF2-40B4-BE49-F238E27FC236}">
                  <a16:creationId xmlns:a16="http://schemas.microsoft.com/office/drawing/2014/main" id="{F4CFF655-76B6-4222-82C5-EF35B21CCB32}"/>
                </a:ext>
              </a:extLst>
            </p:cNvPr>
            <p:cNvSpPr/>
            <p:nvPr/>
          </p:nvSpPr>
          <p:spPr>
            <a:xfrm rot="5400000">
              <a:off x="6241445" y="2627320"/>
              <a:ext cx="348298" cy="223781"/>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7" name="Group 36">
              <a:extLst>
                <a:ext uri="{FF2B5EF4-FFF2-40B4-BE49-F238E27FC236}">
                  <a16:creationId xmlns:a16="http://schemas.microsoft.com/office/drawing/2014/main" id="{80C52C0D-518F-4067-AF50-73CF775833CB}"/>
                </a:ext>
              </a:extLst>
            </p:cNvPr>
            <p:cNvGrpSpPr/>
            <p:nvPr/>
          </p:nvGrpSpPr>
          <p:grpSpPr>
            <a:xfrm>
              <a:off x="5608866" y="4212033"/>
              <a:ext cx="4043903" cy="595511"/>
              <a:chOff x="5839933" y="4421960"/>
              <a:chExt cx="1971247" cy="695362"/>
            </a:xfrm>
          </p:grpSpPr>
          <p:sp>
            <p:nvSpPr>
              <p:cNvPr id="38" name="TextBox 37">
                <a:extLst>
                  <a:ext uri="{FF2B5EF4-FFF2-40B4-BE49-F238E27FC236}">
                    <a16:creationId xmlns:a16="http://schemas.microsoft.com/office/drawing/2014/main" id="{AF46D941-6DC9-4A99-BA36-D66E51AA1C9F}"/>
                  </a:ext>
                </a:extLst>
              </p:cNvPr>
              <p:cNvSpPr txBox="1"/>
              <p:nvPr/>
            </p:nvSpPr>
            <p:spPr>
              <a:xfrm>
                <a:off x="5985026" y="4739971"/>
                <a:ext cx="1826154" cy="377351"/>
              </a:xfrm>
              <a:prstGeom prst="rect">
                <a:avLst/>
              </a:prstGeom>
              <a:noFill/>
            </p:spPr>
            <p:txBody>
              <a:bodyPr wrap="square" lIns="0" tIns="0" rIns="0" bIns="0" rtlCol="0">
                <a:spAutoFit/>
              </a:bodyPr>
              <a:lstStyle/>
              <a:p>
                <a:pPr algn="ctr"/>
                <a:r>
                  <a:rPr lang="en-US" sz="1050" kern="0" dirty="0">
                    <a:latin typeface="Arial" pitchFamily="34" charset="0"/>
                    <a:cs typeface="Arial" pitchFamily="34" charset="0"/>
                  </a:rPr>
                  <a:t>Functional, Technical , extensions, integration, reports and analytics</a:t>
                </a:r>
                <a:r>
                  <a:rPr lang="en-US" sz="1050" b="1" kern="0" dirty="0">
                    <a:solidFill>
                      <a:schemeClr val="tx1">
                        <a:lumMod val="50000"/>
                        <a:lumOff val="50000"/>
                      </a:schemeClr>
                    </a:solidFill>
                    <a:latin typeface="Arial" pitchFamily="34" charset="0"/>
                    <a:cs typeface="Arial" pitchFamily="34" charset="0"/>
                  </a:rPr>
                  <a:t>, </a:t>
                </a:r>
                <a:r>
                  <a:rPr lang="en-US" sz="1050" b="1" kern="0" dirty="0">
                    <a:solidFill>
                      <a:schemeClr val="accent2"/>
                    </a:solidFill>
                    <a:latin typeface="Arial" pitchFamily="34" charset="0"/>
                    <a:cs typeface="Arial" pitchFamily="34" charset="0"/>
                  </a:rPr>
                  <a:t>multiple iterations</a:t>
                </a:r>
                <a:r>
                  <a:rPr lang="en-US" sz="1050" kern="0" dirty="0">
                    <a:solidFill>
                      <a:schemeClr val="tx1">
                        <a:lumMod val="50000"/>
                        <a:lumOff val="50000"/>
                      </a:schemeClr>
                    </a:solidFill>
                    <a:latin typeface="Arial" pitchFamily="34" charset="0"/>
                    <a:cs typeface="Arial" pitchFamily="34" charset="0"/>
                  </a:rPr>
                  <a:t>, </a:t>
                </a:r>
                <a:r>
                  <a:rPr lang="en-US" sz="1050" kern="0" dirty="0">
                    <a:latin typeface="Arial" pitchFamily="34" charset="0"/>
                    <a:cs typeface="Arial" pitchFamily="34" charset="0"/>
                  </a:rPr>
                  <a:t>develop solutions, fine tune</a:t>
                </a:r>
              </a:p>
            </p:txBody>
          </p:sp>
          <p:sp>
            <p:nvSpPr>
              <p:cNvPr id="39" name="TextBox 38">
                <a:extLst>
                  <a:ext uri="{FF2B5EF4-FFF2-40B4-BE49-F238E27FC236}">
                    <a16:creationId xmlns:a16="http://schemas.microsoft.com/office/drawing/2014/main" id="{0220FD6F-C817-4A8E-AEC8-DCCB31080C91}"/>
                  </a:ext>
                </a:extLst>
              </p:cNvPr>
              <p:cNvSpPr txBox="1"/>
              <p:nvPr/>
            </p:nvSpPr>
            <p:spPr>
              <a:xfrm>
                <a:off x="5839933" y="4421960"/>
                <a:ext cx="1826154" cy="251568"/>
              </a:xfrm>
              <a:prstGeom prst="rect">
                <a:avLst/>
              </a:prstGeom>
              <a:noFill/>
            </p:spPr>
            <p:txBody>
              <a:bodyPr wrap="square" lIns="0" tIns="0" rIns="0" bIns="0" rtlCol="0" anchor="b">
                <a:spAutoFit/>
              </a:bodyPr>
              <a:lstStyle/>
              <a:p>
                <a:pPr algn="ctr"/>
                <a:r>
                  <a:rPr lang="en-US" sz="1400" b="1" kern="0" dirty="0">
                    <a:solidFill>
                      <a:schemeClr val="tx1">
                        <a:lumMod val="75000"/>
                        <a:lumOff val="25000"/>
                      </a:schemeClr>
                    </a:solidFill>
                    <a:latin typeface="Arial" pitchFamily="34" charset="0"/>
                    <a:cs typeface="Arial" pitchFamily="34" charset="0"/>
                  </a:rPr>
                  <a:t>Configure&amp; Build </a:t>
                </a:r>
              </a:p>
            </p:txBody>
          </p:sp>
        </p:grpSp>
        <p:sp>
          <p:nvSpPr>
            <p:cNvPr id="40" name="Isosceles Triangle 39">
              <a:extLst>
                <a:ext uri="{FF2B5EF4-FFF2-40B4-BE49-F238E27FC236}">
                  <a16:creationId xmlns:a16="http://schemas.microsoft.com/office/drawing/2014/main" id="{B5847E74-1F35-43DE-8453-742DF44C3477}"/>
                </a:ext>
              </a:extLst>
            </p:cNvPr>
            <p:cNvSpPr/>
            <p:nvPr/>
          </p:nvSpPr>
          <p:spPr>
            <a:xfrm rot="16200000">
              <a:off x="5179435" y="4459400"/>
              <a:ext cx="348298" cy="223781"/>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41" name="Group 40">
              <a:extLst>
                <a:ext uri="{FF2B5EF4-FFF2-40B4-BE49-F238E27FC236}">
                  <a16:creationId xmlns:a16="http://schemas.microsoft.com/office/drawing/2014/main" id="{9F6B8C88-F6A5-4F1B-970F-0558146CD837}"/>
                </a:ext>
              </a:extLst>
            </p:cNvPr>
            <p:cNvGrpSpPr/>
            <p:nvPr/>
          </p:nvGrpSpPr>
          <p:grpSpPr>
            <a:xfrm>
              <a:off x="3260208" y="4287663"/>
              <a:ext cx="1847035" cy="843047"/>
              <a:chOff x="5983258" y="4510271"/>
              <a:chExt cx="2093303" cy="984403"/>
            </a:xfrm>
          </p:grpSpPr>
          <p:sp>
            <p:nvSpPr>
              <p:cNvPr id="42" name="TextBox 41">
                <a:extLst>
                  <a:ext uri="{FF2B5EF4-FFF2-40B4-BE49-F238E27FC236}">
                    <a16:creationId xmlns:a16="http://schemas.microsoft.com/office/drawing/2014/main" id="{9EFBC6AD-BDE4-47F3-AF35-1F5D77C710F9}"/>
                  </a:ext>
                </a:extLst>
              </p:cNvPr>
              <p:cNvSpPr txBox="1"/>
              <p:nvPr/>
            </p:nvSpPr>
            <p:spPr>
              <a:xfrm>
                <a:off x="5985026" y="4739971"/>
                <a:ext cx="2091535" cy="754703"/>
              </a:xfrm>
              <a:prstGeom prst="rect">
                <a:avLst/>
              </a:prstGeom>
              <a:noFill/>
            </p:spPr>
            <p:txBody>
              <a:bodyPr wrap="square" lIns="0" tIns="0" rIns="0" bIns="0" rtlCol="0">
                <a:spAutoFit/>
              </a:bodyPr>
              <a:lstStyle/>
              <a:p>
                <a:pPr algn="ctr"/>
                <a:r>
                  <a:rPr lang="en-US" sz="1050" kern="0" dirty="0">
                    <a:latin typeface="Arial" pitchFamily="34" charset="0"/>
                    <a:cs typeface="Arial" pitchFamily="34" charset="0"/>
                  </a:rPr>
                  <a:t>Train user for UAT, perform  unit, system, end to end testing, performance, security , access </a:t>
                </a:r>
              </a:p>
            </p:txBody>
          </p:sp>
          <p:sp>
            <p:nvSpPr>
              <p:cNvPr id="43" name="TextBox 42">
                <a:extLst>
                  <a:ext uri="{FF2B5EF4-FFF2-40B4-BE49-F238E27FC236}">
                    <a16:creationId xmlns:a16="http://schemas.microsoft.com/office/drawing/2014/main" id="{07D40E11-A968-407F-B8D7-0CDEEB425F0F}"/>
                  </a:ext>
                </a:extLst>
              </p:cNvPr>
              <p:cNvSpPr txBox="1"/>
              <p:nvPr/>
            </p:nvSpPr>
            <p:spPr>
              <a:xfrm>
                <a:off x="5983258" y="4510271"/>
                <a:ext cx="1826154" cy="251568"/>
              </a:xfrm>
              <a:prstGeom prst="rect">
                <a:avLst/>
              </a:prstGeom>
              <a:noFill/>
            </p:spPr>
            <p:txBody>
              <a:bodyPr wrap="square" lIns="0" tIns="0" rIns="0" bIns="0" rtlCol="0" anchor="b">
                <a:spAutoFit/>
              </a:bodyPr>
              <a:lstStyle/>
              <a:p>
                <a:pPr algn="ctr"/>
                <a:r>
                  <a:rPr lang="en-US" sz="1400" b="1" kern="0" dirty="0">
                    <a:solidFill>
                      <a:schemeClr val="tx1">
                        <a:lumMod val="75000"/>
                        <a:lumOff val="25000"/>
                      </a:schemeClr>
                    </a:solidFill>
                    <a:latin typeface="Arial" pitchFamily="34" charset="0"/>
                    <a:cs typeface="Arial" pitchFamily="34" charset="0"/>
                  </a:rPr>
                  <a:t>Validate &amp;Test</a:t>
                </a:r>
              </a:p>
            </p:txBody>
          </p:sp>
        </p:grpSp>
        <p:grpSp>
          <p:nvGrpSpPr>
            <p:cNvPr id="44" name="Group 43">
              <a:extLst>
                <a:ext uri="{FF2B5EF4-FFF2-40B4-BE49-F238E27FC236}">
                  <a16:creationId xmlns:a16="http://schemas.microsoft.com/office/drawing/2014/main" id="{B767DB13-91C7-44FF-9724-C9EEB32B5F9C}"/>
                </a:ext>
              </a:extLst>
            </p:cNvPr>
            <p:cNvGrpSpPr/>
            <p:nvPr/>
          </p:nvGrpSpPr>
          <p:grpSpPr>
            <a:xfrm>
              <a:off x="3195070" y="5997290"/>
              <a:ext cx="2929587" cy="762305"/>
              <a:chOff x="2368545" y="6460659"/>
              <a:chExt cx="3320192" cy="890122"/>
            </a:xfrm>
          </p:grpSpPr>
          <p:sp>
            <p:nvSpPr>
              <p:cNvPr id="45" name="TextBox 44">
                <a:extLst>
                  <a:ext uri="{FF2B5EF4-FFF2-40B4-BE49-F238E27FC236}">
                    <a16:creationId xmlns:a16="http://schemas.microsoft.com/office/drawing/2014/main" id="{796A7E8F-D91E-417B-9715-9D4FC3DFC465}"/>
                  </a:ext>
                </a:extLst>
              </p:cNvPr>
              <p:cNvSpPr txBox="1"/>
              <p:nvPr/>
            </p:nvSpPr>
            <p:spPr>
              <a:xfrm>
                <a:off x="3076765" y="6784754"/>
                <a:ext cx="2269293" cy="566027"/>
              </a:xfrm>
              <a:prstGeom prst="rect">
                <a:avLst/>
              </a:prstGeom>
              <a:noFill/>
            </p:spPr>
            <p:txBody>
              <a:bodyPr wrap="square" lIns="0" tIns="0" rIns="0" bIns="0" rtlCol="0">
                <a:spAutoFit/>
              </a:bodyPr>
              <a:lstStyle/>
              <a:p>
                <a:pPr algn="ctr"/>
                <a:r>
                  <a:rPr lang="en-US" sz="1050" kern="0" dirty="0">
                    <a:latin typeface="Arial" pitchFamily="34" charset="0"/>
                    <a:cs typeface="Arial" pitchFamily="34" charset="0"/>
                  </a:rPr>
                  <a:t>Cutover, Transition to Cloud – Configuration, Data, Reports, Integration, Customization</a:t>
                </a:r>
              </a:p>
            </p:txBody>
          </p:sp>
          <p:sp>
            <p:nvSpPr>
              <p:cNvPr id="46" name="TextBox 45">
                <a:extLst>
                  <a:ext uri="{FF2B5EF4-FFF2-40B4-BE49-F238E27FC236}">
                    <a16:creationId xmlns:a16="http://schemas.microsoft.com/office/drawing/2014/main" id="{35C1A4FF-A5BF-44FB-9BC3-9C800A39CFD4}"/>
                  </a:ext>
                </a:extLst>
              </p:cNvPr>
              <p:cNvSpPr txBox="1"/>
              <p:nvPr/>
            </p:nvSpPr>
            <p:spPr>
              <a:xfrm>
                <a:off x="2368545" y="6460659"/>
                <a:ext cx="3320192" cy="251568"/>
              </a:xfrm>
              <a:prstGeom prst="rect">
                <a:avLst/>
              </a:prstGeom>
              <a:noFill/>
            </p:spPr>
            <p:txBody>
              <a:bodyPr wrap="square" lIns="0" tIns="0" rIns="0" bIns="0" rtlCol="0" anchor="b">
                <a:spAutoFit/>
              </a:bodyPr>
              <a:lstStyle/>
              <a:p>
                <a:pPr algn="ctr"/>
                <a:r>
                  <a:rPr lang="en-US" sz="1400" b="1" kern="0" dirty="0">
                    <a:solidFill>
                      <a:schemeClr val="tx1">
                        <a:lumMod val="75000"/>
                        <a:lumOff val="25000"/>
                      </a:schemeClr>
                    </a:solidFill>
                    <a:latin typeface="Arial" pitchFamily="34" charset="0"/>
                    <a:cs typeface="Arial" pitchFamily="34" charset="0"/>
                  </a:rPr>
                  <a:t>Transition &amp; GO LIVE (eXperience)</a:t>
                </a:r>
              </a:p>
            </p:txBody>
          </p:sp>
        </p:grpSp>
        <p:sp>
          <p:nvSpPr>
            <p:cNvPr id="47" name="Isosceles Triangle 46">
              <a:extLst>
                <a:ext uri="{FF2B5EF4-FFF2-40B4-BE49-F238E27FC236}">
                  <a16:creationId xmlns:a16="http://schemas.microsoft.com/office/drawing/2014/main" id="{1F430708-0273-47AB-9BCA-C5290AE0B58E}"/>
                </a:ext>
              </a:extLst>
            </p:cNvPr>
            <p:cNvSpPr/>
            <p:nvPr/>
          </p:nvSpPr>
          <p:spPr>
            <a:xfrm rot="5400000">
              <a:off x="6111948" y="6235421"/>
              <a:ext cx="348298" cy="223781"/>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48" name="Group 47">
              <a:extLst>
                <a:ext uri="{FF2B5EF4-FFF2-40B4-BE49-F238E27FC236}">
                  <a16:creationId xmlns:a16="http://schemas.microsoft.com/office/drawing/2014/main" id="{4B4BFB14-6775-4D3D-90EC-6041595CA8AD}"/>
                </a:ext>
              </a:extLst>
            </p:cNvPr>
            <p:cNvGrpSpPr/>
            <p:nvPr/>
          </p:nvGrpSpPr>
          <p:grpSpPr>
            <a:xfrm>
              <a:off x="6606277" y="6041568"/>
              <a:ext cx="2260759" cy="757001"/>
              <a:chOff x="3298336" y="6466851"/>
              <a:chExt cx="1826154" cy="883929"/>
            </a:xfrm>
          </p:grpSpPr>
          <p:sp>
            <p:nvSpPr>
              <p:cNvPr id="49" name="TextBox 48">
                <a:extLst>
                  <a:ext uri="{FF2B5EF4-FFF2-40B4-BE49-F238E27FC236}">
                    <a16:creationId xmlns:a16="http://schemas.microsoft.com/office/drawing/2014/main" id="{10E4EE0F-B93F-4BB3-A109-C247EDFD79CD}"/>
                  </a:ext>
                </a:extLst>
              </p:cNvPr>
              <p:cNvSpPr txBox="1"/>
              <p:nvPr/>
            </p:nvSpPr>
            <p:spPr>
              <a:xfrm>
                <a:off x="3298336" y="6784753"/>
                <a:ext cx="1826154" cy="566027"/>
              </a:xfrm>
              <a:prstGeom prst="rect">
                <a:avLst/>
              </a:prstGeom>
              <a:noFill/>
            </p:spPr>
            <p:txBody>
              <a:bodyPr wrap="square" lIns="0" tIns="0" rIns="0" bIns="0" rtlCol="0">
                <a:spAutoFit/>
              </a:bodyPr>
              <a:lstStyle/>
              <a:p>
                <a:pPr algn="ctr"/>
                <a:r>
                  <a:rPr lang="en-US" sz="1050" kern="0" dirty="0">
                    <a:latin typeface="Arial" pitchFamily="34" charset="0"/>
                    <a:cs typeface="Arial" pitchFamily="34" charset="0"/>
                  </a:rPr>
                  <a:t>Support GO LIVE </a:t>
                </a:r>
              </a:p>
              <a:p>
                <a:pPr algn="ctr"/>
                <a:r>
                  <a:rPr lang="en-US" sz="1050" kern="0" dirty="0">
                    <a:latin typeface="Arial" pitchFamily="34" charset="0"/>
                    <a:cs typeface="Arial" pitchFamily="34" charset="0"/>
                  </a:rPr>
                  <a:t>Hyper care, Monitor adoption,</a:t>
                </a:r>
              </a:p>
              <a:p>
                <a:pPr algn="ctr"/>
                <a:r>
                  <a:rPr lang="en-US" sz="1050" kern="0" dirty="0">
                    <a:latin typeface="Arial" pitchFamily="34" charset="0"/>
                    <a:cs typeface="Arial" pitchFamily="34" charset="0"/>
                  </a:rPr>
                  <a:t>Transition to support, Measure</a:t>
                </a:r>
              </a:p>
            </p:txBody>
          </p:sp>
          <p:sp>
            <p:nvSpPr>
              <p:cNvPr id="50" name="TextBox 49">
                <a:extLst>
                  <a:ext uri="{FF2B5EF4-FFF2-40B4-BE49-F238E27FC236}">
                    <a16:creationId xmlns:a16="http://schemas.microsoft.com/office/drawing/2014/main" id="{A9A97A85-1612-4303-9C99-B0A2C4F91B85}"/>
                  </a:ext>
                </a:extLst>
              </p:cNvPr>
              <p:cNvSpPr txBox="1"/>
              <p:nvPr/>
            </p:nvSpPr>
            <p:spPr>
              <a:xfrm>
                <a:off x="3298336" y="6466851"/>
                <a:ext cx="1826154" cy="251568"/>
              </a:xfrm>
              <a:prstGeom prst="rect">
                <a:avLst/>
              </a:prstGeom>
              <a:noFill/>
            </p:spPr>
            <p:txBody>
              <a:bodyPr wrap="square" lIns="0" tIns="0" rIns="0" bIns="0" rtlCol="0" anchor="b">
                <a:spAutoFit/>
              </a:bodyPr>
              <a:lstStyle/>
              <a:p>
                <a:pPr algn="ctr"/>
                <a:r>
                  <a:rPr lang="en-US" sz="1400" b="1" kern="0" dirty="0">
                    <a:solidFill>
                      <a:schemeClr val="tx1">
                        <a:lumMod val="75000"/>
                        <a:lumOff val="25000"/>
                      </a:schemeClr>
                    </a:solidFill>
                    <a:latin typeface="Arial" pitchFamily="34" charset="0"/>
                    <a:cs typeface="Arial" pitchFamily="34" charset="0"/>
                  </a:rPr>
                  <a:t>Sustain &amp; Realize </a:t>
                </a:r>
              </a:p>
            </p:txBody>
          </p:sp>
        </p:grpSp>
        <p:grpSp>
          <p:nvGrpSpPr>
            <p:cNvPr id="51" name="Group 50">
              <a:extLst>
                <a:ext uri="{FF2B5EF4-FFF2-40B4-BE49-F238E27FC236}">
                  <a16:creationId xmlns:a16="http://schemas.microsoft.com/office/drawing/2014/main" id="{96C83B5E-8D47-493D-B30F-713076DEB027}"/>
                </a:ext>
              </a:extLst>
            </p:cNvPr>
            <p:cNvGrpSpPr/>
            <p:nvPr/>
          </p:nvGrpSpPr>
          <p:grpSpPr>
            <a:xfrm flipH="1">
              <a:off x="2396474" y="3290113"/>
              <a:ext cx="1255208" cy="2656286"/>
              <a:chOff x="8551022" y="1401707"/>
              <a:chExt cx="1422566" cy="3010450"/>
            </a:xfrm>
          </p:grpSpPr>
          <p:sp>
            <p:nvSpPr>
              <p:cNvPr id="52" name="Isosceles Triangle 51">
                <a:extLst>
                  <a:ext uri="{FF2B5EF4-FFF2-40B4-BE49-F238E27FC236}">
                    <a16:creationId xmlns:a16="http://schemas.microsoft.com/office/drawing/2014/main" id="{375B8FEF-999F-46FA-9FAC-065EF1059548}"/>
                  </a:ext>
                </a:extLst>
              </p:cNvPr>
              <p:cNvSpPr/>
              <p:nvPr/>
            </p:nvSpPr>
            <p:spPr>
              <a:xfrm rot="5400000">
                <a:off x="8540371" y="1412358"/>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3" name="Isosceles Triangle 52">
                <a:extLst>
                  <a:ext uri="{FF2B5EF4-FFF2-40B4-BE49-F238E27FC236}">
                    <a16:creationId xmlns:a16="http://schemas.microsoft.com/office/drawing/2014/main" id="{C10E221A-7217-40AB-B3F9-2A1D8511C29F}"/>
                  </a:ext>
                </a:extLst>
              </p:cNvPr>
              <p:cNvSpPr/>
              <p:nvPr/>
            </p:nvSpPr>
            <p:spPr>
              <a:xfrm rot="5892245">
                <a:off x="8742634" y="1424872"/>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4" name="Isosceles Triangle 53">
                <a:extLst>
                  <a:ext uri="{FF2B5EF4-FFF2-40B4-BE49-F238E27FC236}">
                    <a16:creationId xmlns:a16="http://schemas.microsoft.com/office/drawing/2014/main" id="{8AA5A526-19F3-4D70-9101-BCC478AB414E}"/>
                  </a:ext>
                </a:extLst>
              </p:cNvPr>
              <p:cNvSpPr/>
              <p:nvPr/>
            </p:nvSpPr>
            <p:spPr>
              <a:xfrm rot="6467866">
                <a:off x="8944897" y="1500768"/>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5" name="Isosceles Triangle 54">
                <a:extLst>
                  <a:ext uri="{FF2B5EF4-FFF2-40B4-BE49-F238E27FC236}">
                    <a16:creationId xmlns:a16="http://schemas.microsoft.com/office/drawing/2014/main" id="{6A1E6D99-E0DC-4B08-B54B-5D061BC374E7}"/>
                  </a:ext>
                </a:extLst>
              </p:cNvPr>
              <p:cNvSpPr/>
              <p:nvPr/>
            </p:nvSpPr>
            <p:spPr>
              <a:xfrm rot="7166443">
                <a:off x="9139284" y="1580855"/>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6" name="Isosceles Triangle 55">
                <a:extLst>
                  <a:ext uri="{FF2B5EF4-FFF2-40B4-BE49-F238E27FC236}">
                    <a16:creationId xmlns:a16="http://schemas.microsoft.com/office/drawing/2014/main" id="{DD5DDFC2-4DA3-4C37-832C-55B24385D0D7}"/>
                  </a:ext>
                </a:extLst>
              </p:cNvPr>
              <p:cNvSpPr/>
              <p:nvPr/>
            </p:nvSpPr>
            <p:spPr>
              <a:xfrm rot="7552672">
                <a:off x="9315757" y="1698482"/>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7" name="Isosceles Triangle 56">
                <a:extLst>
                  <a:ext uri="{FF2B5EF4-FFF2-40B4-BE49-F238E27FC236}">
                    <a16:creationId xmlns:a16="http://schemas.microsoft.com/office/drawing/2014/main" id="{800466E3-2928-48EC-9F1D-ABE562454424}"/>
                  </a:ext>
                </a:extLst>
              </p:cNvPr>
              <p:cNvSpPr/>
              <p:nvPr/>
            </p:nvSpPr>
            <p:spPr>
              <a:xfrm rot="8329341">
                <a:off x="9465563" y="1828647"/>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 name="Isosceles Triangle 57">
                <a:extLst>
                  <a:ext uri="{FF2B5EF4-FFF2-40B4-BE49-F238E27FC236}">
                    <a16:creationId xmlns:a16="http://schemas.microsoft.com/office/drawing/2014/main" id="{165F9F83-DE0A-40F1-8F03-C7C4A6E89CB3}"/>
                  </a:ext>
                </a:extLst>
              </p:cNvPr>
              <p:cNvSpPr/>
              <p:nvPr/>
            </p:nvSpPr>
            <p:spPr>
              <a:xfrm rot="8717415">
                <a:off x="9603676" y="2008563"/>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9" name="Isosceles Triangle 58">
                <a:extLst>
                  <a:ext uri="{FF2B5EF4-FFF2-40B4-BE49-F238E27FC236}">
                    <a16:creationId xmlns:a16="http://schemas.microsoft.com/office/drawing/2014/main" id="{5A9FCD48-B678-47CE-A8B7-088409FE2D61}"/>
                  </a:ext>
                </a:extLst>
              </p:cNvPr>
              <p:cNvSpPr/>
              <p:nvPr/>
            </p:nvSpPr>
            <p:spPr>
              <a:xfrm rot="9382219">
                <a:off x="9727504" y="2217059"/>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0" name="Isosceles Triangle 59">
                <a:extLst>
                  <a:ext uri="{FF2B5EF4-FFF2-40B4-BE49-F238E27FC236}">
                    <a16:creationId xmlns:a16="http://schemas.microsoft.com/office/drawing/2014/main" id="{32715BE8-5FC2-4FF5-A51B-239AC4B852FC}"/>
                  </a:ext>
                </a:extLst>
              </p:cNvPr>
              <p:cNvSpPr/>
              <p:nvPr/>
            </p:nvSpPr>
            <p:spPr>
              <a:xfrm rot="9823366">
                <a:off x="9806085" y="2440218"/>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1" name="Isosceles Triangle 60">
                <a:extLst>
                  <a:ext uri="{FF2B5EF4-FFF2-40B4-BE49-F238E27FC236}">
                    <a16:creationId xmlns:a16="http://schemas.microsoft.com/office/drawing/2014/main" id="{DCFF4F72-A17E-4536-A048-C8F23D23CEDA}"/>
                  </a:ext>
                </a:extLst>
              </p:cNvPr>
              <p:cNvSpPr/>
              <p:nvPr/>
            </p:nvSpPr>
            <p:spPr>
              <a:xfrm rot="10315961">
                <a:off x="9848947" y="2674051"/>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2" name="Isosceles Triangle 61">
                <a:extLst>
                  <a:ext uri="{FF2B5EF4-FFF2-40B4-BE49-F238E27FC236}">
                    <a16:creationId xmlns:a16="http://schemas.microsoft.com/office/drawing/2014/main" id="{EAEDEEB5-8949-4E33-8D43-88949C7366AE}"/>
                  </a:ext>
                </a:extLst>
              </p:cNvPr>
              <p:cNvSpPr/>
              <p:nvPr/>
            </p:nvSpPr>
            <p:spPr>
              <a:xfrm rot="10800000">
                <a:off x="9860854" y="2893150"/>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3" name="Isosceles Triangle 62">
                <a:extLst>
                  <a:ext uri="{FF2B5EF4-FFF2-40B4-BE49-F238E27FC236}">
                    <a16:creationId xmlns:a16="http://schemas.microsoft.com/office/drawing/2014/main" id="{429C8BD0-40EE-4048-A2AD-D004C92B9753}"/>
                  </a:ext>
                </a:extLst>
              </p:cNvPr>
              <p:cNvSpPr/>
              <p:nvPr/>
            </p:nvSpPr>
            <p:spPr>
              <a:xfrm rot="11453211">
                <a:off x="9844185" y="3099905"/>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4" name="Isosceles Triangle 63">
                <a:extLst>
                  <a:ext uri="{FF2B5EF4-FFF2-40B4-BE49-F238E27FC236}">
                    <a16:creationId xmlns:a16="http://schemas.microsoft.com/office/drawing/2014/main" id="{8641AFEC-15D9-4E7D-A807-BF49315174B8}"/>
                  </a:ext>
                </a:extLst>
              </p:cNvPr>
              <p:cNvSpPr/>
              <p:nvPr/>
            </p:nvSpPr>
            <p:spPr>
              <a:xfrm rot="12012083">
                <a:off x="9794180" y="3318848"/>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5" name="Isosceles Triangle 64">
                <a:extLst>
                  <a:ext uri="{FF2B5EF4-FFF2-40B4-BE49-F238E27FC236}">
                    <a16:creationId xmlns:a16="http://schemas.microsoft.com/office/drawing/2014/main" id="{D5FF4D16-2AEF-40B9-B75A-780C1644A5AA}"/>
                  </a:ext>
                </a:extLst>
              </p:cNvPr>
              <p:cNvSpPr/>
              <p:nvPr/>
            </p:nvSpPr>
            <p:spPr>
              <a:xfrm rot="12415846">
                <a:off x="9703693" y="3536887"/>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6" name="Isosceles Triangle 65">
                <a:extLst>
                  <a:ext uri="{FF2B5EF4-FFF2-40B4-BE49-F238E27FC236}">
                    <a16:creationId xmlns:a16="http://schemas.microsoft.com/office/drawing/2014/main" id="{97FA0343-CDD8-4F0B-8A3B-51E713EAE5F2}"/>
                  </a:ext>
                </a:extLst>
              </p:cNvPr>
              <p:cNvSpPr/>
              <p:nvPr/>
            </p:nvSpPr>
            <p:spPr>
              <a:xfrm rot="13020737">
                <a:off x="9571074" y="3763270"/>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7" name="Isosceles Triangle 66">
                <a:extLst>
                  <a:ext uri="{FF2B5EF4-FFF2-40B4-BE49-F238E27FC236}">
                    <a16:creationId xmlns:a16="http://schemas.microsoft.com/office/drawing/2014/main" id="{56D8F6E8-1BBA-4A61-AC8C-E3B37CCB3234}"/>
                  </a:ext>
                </a:extLst>
              </p:cNvPr>
              <p:cNvSpPr/>
              <p:nvPr/>
            </p:nvSpPr>
            <p:spPr>
              <a:xfrm rot="13987919">
                <a:off x="9420561" y="3939761"/>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8" name="Isosceles Triangle 67">
                <a:extLst>
                  <a:ext uri="{FF2B5EF4-FFF2-40B4-BE49-F238E27FC236}">
                    <a16:creationId xmlns:a16="http://schemas.microsoft.com/office/drawing/2014/main" id="{A5929EF3-CAFD-4F2F-9B8A-0B610C5AA784}"/>
                  </a:ext>
                </a:extLst>
              </p:cNvPr>
              <p:cNvSpPr/>
              <p:nvPr/>
            </p:nvSpPr>
            <p:spPr>
              <a:xfrm rot="14412693">
                <a:off x="9242973" y="4082416"/>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9" name="Isosceles Triangle 68">
                <a:extLst>
                  <a:ext uri="{FF2B5EF4-FFF2-40B4-BE49-F238E27FC236}">
                    <a16:creationId xmlns:a16="http://schemas.microsoft.com/office/drawing/2014/main" id="{AF9E42D5-BAC3-439D-B667-027029631CF0}"/>
                  </a:ext>
                </a:extLst>
              </p:cNvPr>
              <p:cNvSpPr/>
              <p:nvPr/>
            </p:nvSpPr>
            <p:spPr>
              <a:xfrm rot="15036362">
                <a:off x="9056689" y="4185028"/>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0" name="Isosceles Triangle 69">
                <a:extLst>
                  <a:ext uri="{FF2B5EF4-FFF2-40B4-BE49-F238E27FC236}">
                    <a16:creationId xmlns:a16="http://schemas.microsoft.com/office/drawing/2014/main" id="{E1D34E24-6360-4B61-A536-DE9A622F7AAC}"/>
                  </a:ext>
                </a:extLst>
              </p:cNvPr>
              <p:cNvSpPr/>
              <p:nvPr/>
            </p:nvSpPr>
            <p:spPr>
              <a:xfrm rot="15653508">
                <a:off x="8846474" y="4279296"/>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1" name="Isosceles Triangle 70">
                <a:extLst>
                  <a:ext uri="{FF2B5EF4-FFF2-40B4-BE49-F238E27FC236}">
                    <a16:creationId xmlns:a16="http://schemas.microsoft.com/office/drawing/2014/main" id="{AE926B9F-E418-4A9C-9CB7-D898DB0BBB72}"/>
                  </a:ext>
                </a:extLst>
              </p:cNvPr>
              <p:cNvSpPr/>
              <p:nvPr/>
            </p:nvSpPr>
            <p:spPr>
              <a:xfrm rot="16200000">
                <a:off x="8636260" y="4304323"/>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72" name="Group 71">
              <a:extLst>
                <a:ext uri="{FF2B5EF4-FFF2-40B4-BE49-F238E27FC236}">
                  <a16:creationId xmlns:a16="http://schemas.microsoft.com/office/drawing/2014/main" id="{47F52635-D463-4641-A4A8-9CF436D6281F}"/>
                </a:ext>
              </a:extLst>
            </p:cNvPr>
            <p:cNvGrpSpPr/>
            <p:nvPr/>
          </p:nvGrpSpPr>
          <p:grpSpPr>
            <a:xfrm>
              <a:off x="4559721" y="1485483"/>
              <a:ext cx="847636" cy="848053"/>
              <a:chOff x="4559721" y="1485483"/>
              <a:chExt cx="847636" cy="848053"/>
            </a:xfrm>
          </p:grpSpPr>
          <p:sp>
            <p:nvSpPr>
              <p:cNvPr id="73" name="Oval 72">
                <a:extLst>
                  <a:ext uri="{FF2B5EF4-FFF2-40B4-BE49-F238E27FC236}">
                    <a16:creationId xmlns:a16="http://schemas.microsoft.com/office/drawing/2014/main" id="{720445C8-CB39-4B1A-866F-4B61B283EF45}"/>
                  </a:ext>
                </a:extLst>
              </p:cNvPr>
              <p:cNvSpPr/>
              <p:nvPr/>
            </p:nvSpPr>
            <p:spPr>
              <a:xfrm>
                <a:off x="4559721" y="1485483"/>
                <a:ext cx="847636" cy="848053"/>
              </a:xfrm>
              <a:prstGeom prst="ellipse">
                <a:avLst/>
              </a:prstGeom>
              <a:solidFill>
                <a:schemeClr val="bg1"/>
              </a:solidFill>
              <a:ln>
                <a:noFill/>
              </a:ln>
              <a:effectLst>
                <a:outerShdw blurRad="101600" dir="21540000" sx="106000" sy="106000" algn="l" rotWithShape="0">
                  <a:schemeClr val="tx2">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dirty="0"/>
              </a:p>
            </p:txBody>
          </p:sp>
          <p:grpSp>
            <p:nvGrpSpPr>
              <p:cNvPr id="74" name="Idea2">
                <a:extLst>
                  <a:ext uri="{FF2B5EF4-FFF2-40B4-BE49-F238E27FC236}">
                    <a16:creationId xmlns:a16="http://schemas.microsoft.com/office/drawing/2014/main" id="{6C52D80D-2AC9-4A44-A9D2-F5EA0E3CED1D}"/>
                  </a:ext>
                </a:extLst>
              </p:cNvPr>
              <p:cNvGrpSpPr>
                <a:grpSpLocks noChangeAspect="1"/>
              </p:cNvGrpSpPr>
              <p:nvPr>
                <p:custDataLst>
                  <p:tags r:id="rId2"/>
                </p:custDataLst>
              </p:nvPr>
            </p:nvGrpSpPr>
            <p:grpSpPr>
              <a:xfrm>
                <a:off x="4766863" y="1677027"/>
                <a:ext cx="433355" cy="464964"/>
                <a:chOff x="2087986" y="1812758"/>
                <a:chExt cx="316995" cy="350423"/>
              </a:xfrm>
              <a:solidFill>
                <a:schemeClr val="accent2"/>
              </a:solidFill>
            </p:grpSpPr>
            <p:sp>
              <p:nvSpPr>
                <p:cNvPr id="75" name="Crowdsourcing2">
                  <a:extLst>
                    <a:ext uri="{FF2B5EF4-FFF2-40B4-BE49-F238E27FC236}">
                      <a16:creationId xmlns:a16="http://schemas.microsoft.com/office/drawing/2014/main" id="{834C701D-DE0C-4905-97C3-1336A24567C6}"/>
                    </a:ext>
                  </a:extLst>
                </p:cNvPr>
                <p:cNvSpPr>
                  <a:spLocks/>
                </p:cNvSpPr>
                <p:nvPr>
                  <p:custDataLst>
                    <p:tags r:id="rId3"/>
                  </p:custDataLst>
                </p:nvPr>
              </p:nvSpPr>
              <p:spPr bwMode="auto">
                <a:xfrm>
                  <a:off x="2212479" y="2095171"/>
                  <a:ext cx="68010" cy="23054"/>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Crowdsourcing2">
                  <a:extLst>
                    <a:ext uri="{FF2B5EF4-FFF2-40B4-BE49-F238E27FC236}">
                      <a16:creationId xmlns:a16="http://schemas.microsoft.com/office/drawing/2014/main" id="{37759240-0B07-4FDC-8E8F-8DCDF282703A}"/>
                    </a:ext>
                  </a:extLst>
                </p:cNvPr>
                <p:cNvSpPr>
                  <a:spLocks/>
                </p:cNvSpPr>
                <p:nvPr>
                  <p:custDataLst>
                    <p:tags r:id="rId4"/>
                  </p:custDataLst>
                </p:nvPr>
              </p:nvSpPr>
              <p:spPr bwMode="auto">
                <a:xfrm>
                  <a:off x="2235533" y="1812758"/>
                  <a:ext cx="21901" cy="68010"/>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Crowdsourcing2">
                  <a:extLst>
                    <a:ext uri="{FF2B5EF4-FFF2-40B4-BE49-F238E27FC236}">
                      <a16:creationId xmlns:a16="http://schemas.microsoft.com/office/drawing/2014/main" id="{3BE03351-4D32-4683-8231-C37D6A777F8F}"/>
                    </a:ext>
                  </a:extLst>
                </p:cNvPr>
                <p:cNvSpPr>
                  <a:spLocks/>
                </p:cNvSpPr>
                <p:nvPr>
                  <p:custDataLst>
                    <p:tags r:id="rId5"/>
                  </p:custDataLst>
                </p:nvPr>
              </p:nvSpPr>
              <p:spPr bwMode="auto">
                <a:xfrm>
                  <a:off x="2087986" y="1960304"/>
                  <a:ext cx="68010" cy="21901"/>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Crowdsourcing2">
                  <a:extLst>
                    <a:ext uri="{FF2B5EF4-FFF2-40B4-BE49-F238E27FC236}">
                      <a16:creationId xmlns:a16="http://schemas.microsoft.com/office/drawing/2014/main" id="{71CA092C-D468-4E64-8BDC-80E5F3F8F5E5}"/>
                    </a:ext>
                  </a:extLst>
                </p:cNvPr>
                <p:cNvSpPr>
                  <a:spLocks/>
                </p:cNvSpPr>
                <p:nvPr>
                  <p:custDataLst>
                    <p:tags r:id="rId6"/>
                  </p:custDataLst>
                </p:nvPr>
              </p:nvSpPr>
              <p:spPr bwMode="auto">
                <a:xfrm>
                  <a:off x="2128331" y="1853103"/>
                  <a:ext cx="56483" cy="55330"/>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Crowdsourcing2">
                  <a:extLst>
                    <a:ext uri="{FF2B5EF4-FFF2-40B4-BE49-F238E27FC236}">
                      <a16:creationId xmlns:a16="http://schemas.microsoft.com/office/drawing/2014/main" id="{F8978047-55DA-40A4-B39E-C0825E9B3BE4}"/>
                    </a:ext>
                  </a:extLst>
                </p:cNvPr>
                <p:cNvSpPr>
                  <a:spLocks/>
                </p:cNvSpPr>
                <p:nvPr>
                  <p:custDataLst>
                    <p:tags r:id="rId7"/>
                  </p:custDataLst>
                </p:nvPr>
              </p:nvSpPr>
              <p:spPr bwMode="auto">
                <a:xfrm>
                  <a:off x="2307001" y="1853103"/>
                  <a:ext cx="56483" cy="55330"/>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Crowdsourcing2">
                  <a:extLst>
                    <a:ext uri="{FF2B5EF4-FFF2-40B4-BE49-F238E27FC236}">
                      <a16:creationId xmlns:a16="http://schemas.microsoft.com/office/drawing/2014/main" id="{F32DA979-358D-43E7-854C-FDE458FBB5DD}"/>
                    </a:ext>
                  </a:extLst>
                </p:cNvPr>
                <p:cNvSpPr>
                  <a:spLocks/>
                </p:cNvSpPr>
                <p:nvPr>
                  <p:custDataLst>
                    <p:tags r:id="rId8"/>
                  </p:custDataLst>
                </p:nvPr>
              </p:nvSpPr>
              <p:spPr bwMode="auto">
                <a:xfrm>
                  <a:off x="2336971" y="1960304"/>
                  <a:ext cx="68010" cy="21901"/>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Crowdsourcing2">
                  <a:extLst>
                    <a:ext uri="{FF2B5EF4-FFF2-40B4-BE49-F238E27FC236}">
                      <a16:creationId xmlns:a16="http://schemas.microsoft.com/office/drawing/2014/main" id="{A4F4C21A-2D42-44A6-B76D-3EC11430D98C}"/>
                    </a:ext>
                  </a:extLst>
                </p:cNvPr>
                <p:cNvSpPr>
                  <a:spLocks/>
                </p:cNvSpPr>
                <p:nvPr>
                  <p:custDataLst>
                    <p:tags r:id="rId9"/>
                  </p:custDataLst>
                </p:nvPr>
              </p:nvSpPr>
              <p:spPr bwMode="auto">
                <a:xfrm>
                  <a:off x="2212479" y="2128600"/>
                  <a:ext cx="68010" cy="34581"/>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Crowdsourcing2">
                  <a:extLst>
                    <a:ext uri="{FF2B5EF4-FFF2-40B4-BE49-F238E27FC236}">
                      <a16:creationId xmlns:a16="http://schemas.microsoft.com/office/drawing/2014/main" id="{89C4D23F-B2BF-4344-8CAF-105DD8671EE1}"/>
                    </a:ext>
                  </a:extLst>
                </p:cNvPr>
                <p:cNvSpPr>
                  <a:spLocks/>
                </p:cNvSpPr>
                <p:nvPr>
                  <p:custDataLst>
                    <p:tags r:id="rId10"/>
                  </p:custDataLst>
                </p:nvPr>
              </p:nvSpPr>
              <p:spPr bwMode="auto">
                <a:xfrm>
                  <a:off x="2167523" y="1892295"/>
                  <a:ext cx="157921" cy="191349"/>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83" name="Group 82">
              <a:extLst>
                <a:ext uri="{FF2B5EF4-FFF2-40B4-BE49-F238E27FC236}">
                  <a16:creationId xmlns:a16="http://schemas.microsoft.com/office/drawing/2014/main" id="{AF963890-D20B-4D9E-8FDB-D0577336A952}"/>
                </a:ext>
              </a:extLst>
            </p:cNvPr>
            <p:cNvGrpSpPr/>
            <p:nvPr/>
          </p:nvGrpSpPr>
          <p:grpSpPr>
            <a:xfrm>
              <a:off x="7201637" y="5152016"/>
              <a:ext cx="847636" cy="848053"/>
              <a:chOff x="7201637" y="5152016"/>
              <a:chExt cx="847636" cy="848053"/>
            </a:xfrm>
          </p:grpSpPr>
          <p:sp>
            <p:nvSpPr>
              <p:cNvPr id="84" name="Oval 83">
                <a:extLst>
                  <a:ext uri="{FF2B5EF4-FFF2-40B4-BE49-F238E27FC236}">
                    <a16:creationId xmlns:a16="http://schemas.microsoft.com/office/drawing/2014/main" id="{99483629-0008-4139-ACBA-66A64DA30DE2}"/>
                  </a:ext>
                </a:extLst>
              </p:cNvPr>
              <p:cNvSpPr/>
              <p:nvPr/>
            </p:nvSpPr>
            <p:spPr>
              <a:xfrm>
                <a:off x="7201637" y="5152016"/>
                <a:ext cx="847636" cy="848053"/>
              </a:xfrm>
              <a:prstGeom prst="ellipse">
                <a:avLst/>
              </a:prstGeom>
              <a:solidFill>
                <a:schemeClr val="bg1"/>
              </a:solidFill>
              <a:ln>
                <a:noFill/>
              </a:ln>
              <a:effectLst>
                <a:outerShdw blurRad="101600" dir="21540000" sx="106000" sy="106000" algn="l" rotWithShape="0">
                  <a:schemeClr val="tx2">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dirty="0"/>
              </a:p>
            </p:txBody>
          </p:sp>
          <p:grpSp>
            <p:nvGrpSpPr>
              <p:cNvPr id="85" name="Group 84">
                <a:extLst>
                  <a:ext uri="{FF2B5EF4-FFF2-40B4-BE49-F238E27FC236}">
                    <a16:creationId xmlns:a16="http://schemas.microsoft.com/office/drawing/2014/main" id="{5CEC835A-B9AA-4C51-A141-BB19B6250B2D}"/>
                  </a:ext>
                </a:extLst>
              </p:cNvPr>
              <p:cNvGrpSpPr/>
              <p:nvPr/>
            </p:nvGrpSpPr>
            <p:grpSpPr>
              <a:xfrm>
                <a:off x="7247523" y="5298413"/>
                <a:ext cx="651931" cy="431942"/>
                <a:chOff x="6391276" y="2988516"/>
                <a:chExt cx="795338" cy="542925"/>
              </a:xfrm>
            </p:grpSpPr>
            <p:sp>
              <p:nvSpPr>
                <p:cNvPr id="86" name="Freeform 39">
                  <a:extLst>
                    <a:ext uri="{FF2B5EF4-FFF2-40B4-BE49-F238E27FC236}">
                      <a16:creationId xmlns:a16="http://schemas.microsoft.com/office/drawing/2014/main" id="{463D1B13-F14A-4464-8569-261C40162E99}"/>
                    </a:ext>
                  </a:extLst>
                </p:cNvPr>
                <p:cNvSpPr>
                  <a:spLocks/>
                </p:cNvSpPr>
                <p:nvPr/>
              </p:nvSpPr>
              <p:spPr bwMode="auto">
                <a:xfrm flipH="1">
                  <a:off x="6909920" y="2988516"/>
                  <a:ext cx="180672" cy="542925"/>
                </a:xfrm>
                <a:custGeom>
                  <a:avLst/>
                  <a:gdLst>
                    <a:gd name="T0" fmla="*/ 134 w 200"/>
                    <a:gd name="T1" fmla="*/ 0 h 600"/>
                    <a:gd name="T2" fmla="*/ 67 w 200"/>
                    <a:gd name="T3" fmla="*/ 0 h 600"/>
                    <a:gd name="T4" fmla="*/ 0 w 200"/>
                    <a:gd name="T5" fmla="*/ 67 h 600"/>
                    <a:gd name="T6" fmla="*/ 0 w 200"/>
                    <a:gd name="T7" fmla="*/ 600 h 600"/>
                    <a:gd name="T8" fmla="*/ 200 w 200"/>
                    <a:gd name="T9" fmla="*/ 600 h 600"/>
                    <a:gd name="T10" fmla="*/ 200 w 200"/>
                    <a:gd name="T11" fmla="*/ 67 h 600"/>
                    <a:gd name="T12" fmla="*/ 134 w 200"/>
                    <a:gd name="T13" fmla="*/ 0 h 600"/>
                  </a:gdLst>
                  <a:ahLst/>
                  <a:cxnLst>
                    <a:cxn ang="0">
                      <a:pos x="T0" y="T1"/>
                    </a:cxn>
                    <a:cxn ang="0">
                      <a:pos x="T2" y="T3"/>
                    </a:cxn>
                    <a:cxn ang="0">
                      <a:pos x="T4" y="T5"/>
                    </a:cxn>
                    <a:cxn ang="0">
                      <a:pos x="T6" y="T7"/>
                    </a:cxn>
                    <a:cxn ang="0">
                      <a:pos x="T8" y="T9"/>
                    </a:cxn>
                    <a:cxn ang="0">
                      <a:pos x="T10" y="T11"/>
                    </a:cxn>
                    <a:cxn ang="0">
                      <a:pos x="T12" y="T13"/>
                    </a:cxn>
                  </a:cxnLst>
                  <a:rect l="0" t="0" r="r" b="b"/>
                  <a:pathLst>
                    <a:path w="200" h="600">
                      <a:moveTo>
                        <a:pt x="134" y="0"/>
                      </a:moveTo>
                      <a:lnTo>
                        <a:pt x="67" y="0"/>
                      </a:lnTo>
                      <a:cubicBezTo>
                        <a:pt x="30" y="0"/>
                        <a:pt x="0" y="30"/>
                        <a:pt x="0" y="67"/>
                      </a:cubicBezTo>
                      <a:lnTo>
                        <a:pt x="0" y="600"/>
                      </a:lnTo>
                      <a:lnTo>
                        <a:pt x="200" y="600"/>
                      </a:lnTo>
                      <a:lnTo>
                        <a:pt x="200" y="67"/>
                      </a:lnTo>
                      <a:cubicBezTo>
                        <a:pt x="200" y="30"/>
                        <a:pt x="170" y="0"/>
                        <a:pt x="134" y="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39">
                  <a:extLst>
                    <a:ext uri="{FF2B5EF4-FFF2-40B4-BE49-F238E27FC236}">
                      <a16:creationId xmlns:a16="http://schemas.microsoft.com/office/drawing/2014/main" id="{86B20675-75E8-44D5-B85C-41A02BAC923A}"/>
                    </a:ext>
                  </a:extLst>
                </p:cNvPr>
                <p:cNvSpPr>
                  <a:spLocks/>
                </p:cNvSpPr>
                <p:nvPr/>
              </p:nvSpPr>
              <p:spPr bwMode="auto">
                <a:xfrm flipH="1">
                  <a:off x="6674085" y="3188748"/>
                  <a:ext cx="180672" cy="342693"/>
                </a:xfrm>
                <a:custGeom>
                  <a:avLst/>
                  <a:gdLst>
                    <a:gd name="T0" fmla="*/ 134 w 200"/>
                    <a:gd name="T1" fmla="*/ 0 h 600"/>
                    <a:gd name="T2" fmla="*/ 67 w 200"/>
                    <a:gd name="T3" fmla="*/ 0 h 600"/>
                    <a:gd name="T4" fmla="*/ 0 w 200"/>
                    <a:gd name="T5" fmla="*/ 67 h 600"/>
                    <a:gd name="T6" fmla="*/ 0 w 200"/>
                    <a:gd name="T7" fmla="*/ 600 h 600"/>
                    <a:gd name="T8" fmla="*/ 200 w 200"/>
                    <a:gd name="T9" fmla="*/ 600 h 600"/>
                    <a:gd name="T10" fmla="*/ 200 w 200"/>
                    <a:gd name="T11" fmla="*/ 67 h 600"/>
                    <a:gd name="T12" fmla="*/ 134 w 200"/>
                    <a:gd name="T13" fmla="*/ 0 h 600"/>
                  </a:gdLst>
                  <a:ahLst/>
                  <a:cxnLst>
                    <a:cxn ang="0">
                      <a:pos x="T0" y="T1"/>
                    </a:cxn>
                    <a:cxn ang="0">
                      <a:pos x="T2" y="T3"/>
                    </a:cxn>
                    <a:cxn ang="0">
                      <a:pos x="T4" y="T5"/>
                    </a:cxn>
                    <a:cxn ang="0">
                      <a:pos x="T6" y="T7"/>
                    </a:cxn>
                    <a:cxn ang="0">
                      <a:pos x="T8" y="T9"/>
                    </a:cxn>
                    <a:cxn ang="0">
                      <a:pos x="T10" y="T11"/>
                    </a:cxn>
                    <a:cxn ang="0">
                      <a:pos x="T12" y="T13"/>
                    </a:cxn>
                  </a:cxnLst>
                  <a:rect l="0" t="0" r="r" b="b"/>
                  <a:pathLst>
                    <a:path w="200" h="600">
                      <a:moveTo>
                        <a:pt x="134" y="0"/>
                      </a:moveTo>
                      <a:lnTo>
                        <a:pt x="67" y="0"/>
                      </a:lnTo>
                      <a:cubicBezTo>
                        <a:pt x="30" y="0"/>
                        <a:pt x="0" y="30"/>
                        <a:pt x="0" y="67"/>
                      </a:cubicBezTo>
                      <a:lnTo>
                        <a:pt x="0" y="600"/>
                      </a:lnTo>
                      <a:lnTo>
                        <a:pt x="200" y="600"/>
                      </a:lnTo>
                      <a:lnTo>
                        <a:pt x="200" y="67"/>
                      </a:lnTo>
                      <a:cubicBezTo>
                        <a:pt x="200" y="30"/>
                        <a:pt x="170" y="0"/>
                        <a:pt x="134" y="0"/>
                      </a:cubicBezTo>
                      <a:close/>
                    </a:path>
                  </a:pathLst>
                </a:custGeom>
                <a:solidFill>
                  <a:schemeClr val="bg1"/>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39">
                  <a:extLst>
                    <a:ext uri="{FF2B5EF4-FFF2-40B4-BE49-F238E27FC236}">
                      <a16:creationId xmlns:a16="http://schemas.microsoft.com/office/drawing/2014/main" id="{53B9809B-1BA5-49C3-86B9-850196FA13B2}"/>
                    </a:ext>
                  </a:extLst>
                </p:cNvPr>
                <p:cNvSpPr>
                  <a:spLocks/>
                </p:cNvSpPr>
                <p:nvPr/>
              </p:nvSpPr>
              <p:spPr bwMode="auto">
                <a:xfrm flipH="1">
                  <a:off x="6438250" y="3281363"/>
                  <a:ext cx="180672" cy="250078"/>
                </a:xfrm>
                <a:custGeom>
                  <a:avLst/>
                  <a:gdLst>
                    <a:gd name="T0" fmla="*/ 134 w 200"/>
                    <a:gd name="T1" fmla="*/ 0 h 600"/>
                    <a:gd name="T2" fmla="*/ 67 w 200"/>
                    <a:gd name="T3" fmla="*/ 0 h 600"/>
                    <a:gd name="T4" fmla="*/ 0 w 200"/>
                    <a:gd name="T5" fmla="*/ 67 h 600"/>
                    <a:gd name="T6" fmla="*/ 0 w 200"/>
                    <a:gd name="T7" fmla="*/ 600 h 600"/>
                    <a:gd name="T8" fmla="*/ 200 w 200"/>
                    <a:gd name="T9" fmla="*/ 600 h 600"/>
                    <a:gd name="T10" fmla="*/ 200 w 200"/>
                    <a:gd name="T11" fmla="*/ 67 h 600"/>
                    <a:gd name="T12" fmla="*/ 134 w 200"/>
                    <a:gd name="T13" fmla="*/ 0 h 600"/>
                  </a:gdLst>
                  <a:ahLst/>
                  <a:cxnLst>
                    <a:cxn ang="0">
                      <a:pos x="T0" y="T1"/>
                    </a:cxn>
                    <a:cxn ang="0">
                      <a:pos x="T2" y="T3"/>
                    </a:cxn>
                    <a:cxn ang="0">
                      <a:pos x="T4" y="T5"/>
                    </a:cxn>
                    <a:cxn ang="0">
                      <a:pos x="T6" y="T7"/>
                    </a:cxn>
                    <a:cxn ang="0">
                      <a:pos x="T8" y="T9"/>
                    </a:cxn>
                    <a:cxn ang="0">
                      <a:pos x="T10" y="T11"/>
                    </a:cxn>
                    <a:cxn ang="0">
                      <a:pos x="T12" y="T13"/>
                    </a:cxn>
                  </a:cxnLst>
                  <a:rect l="0" t="0" r="r" b="b"/>
                  <a:pathLst>
                    <a:path w="200" h="600">
                      <a:moveTo>
                        <a:pt x="134" y="0"/>
                      </a:moveTo>
                      <a:lnTo>
                        <a:pt x="67" y="0"/>
                      </a:lnTo>
                      <a:cubicBezTo>
                        <a:pt x="30" y="0"/>
                        <a:pt x="0" y="30"/>
                        <a:pt x="0" y="67"/>
                      </a:cubicBezTo>
                      <a:lnTo>
                        <a:pt x="0" y="600"/>
                      </a:lnTo>
                      <a:lnTo>
                        <a:pt x="200" y="600"/>
                      </a:lnTo>
                      <a:lnTo>
                        <a:pt x="200" y="67"/>
                      </a:lnTo>
                      <a:cubicBezTo>
                        <a:pt x="200" y="30"/>
                        <a:pt x="170" y="0"/>
                        <a:pt x="134" y="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Shape 88">
                  <a:extLst>
                    <a:ext uri="{FF2B5EF4-FFF2-40B4-BE49-F238E27FC236}">
                      <a16:creationId xmlns:a16="http://schemas.microsoft.com/office/drawing/2014/main" id="{6AEDBB15-CE91-4FD2-B219-AFAA44164B14}"/>
                    </a:ext>
                  </a:extLst>
                </p:cNvPr>
                <p:cNvSpPr/>
                <p:nvPr/>
              </p:nvSpPr>
              <p:spPr>
                <a:xfrm>
                  <a:off x="6391276" y="3112294"/>
                  <a:ext cx="795338" cy="323850"/>
                </a:xfrm>
                <a:custGeom>
                  <a:avLst/>
                  <a:gdLst>
                    <a:gd name="connsiteX0" fmla="*/ 0 w 728663"/>
                    <a:gd name="connsiteY0" fmla="*/ 352425 h 419100"/>
                    <a:gd name="connsiteX1" fmla="*/ 195263 w 728663"/>
                    <a:gd name="connsiteY1" fmla="*/ 419100 h 419100"/>
                    <a:gd name="connsiteX2" fmla="*/ 409575 w 728663"/>
                    <a:gd name="connsiteY2" fmla="*/ 261938 h 419100"/>
                    <a:gd name="connsiteX3" fmla="*/ 647700 w 728663"/>
                    <a:gd name="connsiteY3" fmla="*/ 200025 h 419100"/>
                    <a:gd name="connsiteX4" fmla="*/ 728663 w 728663"/>
                    <a:gd name="connsiteY4" fmla="*/ 0 h 419100"/>
                    <a:gd name="connsiteX0" fmla="*/ 0 w 795338"/>
                    <a:gd name="connsiteY0" fmla="*/ 298694 h 365369"/>
                    <a:gd name="connsiteX1" fmla="*/ 195263 w 795338"/>
                    <a:gd name="connsiteY1" fmla="*/ 365369 h 365369"/>
                    <a:gd name="connsiteX2" fmla="*/ 409575 w 795338"/>
                    <a:gd name="connsiteY2" fmla="*/ 208207 h 365369"/>
                    <a:gd name="connsiteX3" fmla="*/ 647700 w 795338"/>
                    <a:gd name="connsiteY3" fmla="*/ 146294 h 365369"/>
                    <a:gd name="connsiteX4" fmla="*/ 795338 w 795338"/>
                    <a:gd name="connsiteY4" fmla="*/ 0 h 365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5338" h="365369">
                      <a:moveTo>
                        <a:pt x="0" y="298694"/>
                      </a:moveTo>
                      <a:lnTo>
                        <a:pt x="195263" y="365369"/>
                      </a:lnTo>
                      <a:lnTo>
                        <a:pt x="409575" y="208207"/>
                      </a:lnTo>
                      <a:lnTo>
                        <a:pt x="647700" y="146294"/>
                      </a:lnTo>
                      <a:lnTo>
                        <a:pt x="795338" y="0"/>
                      </a:lnTo>
                    </a:path>
                  </a:pathLst>
                </a:custGeom>
                <a:noFill/>
                <a:ln w="12700">
                  <a:solidFill>
                    <a:schemeClr val="tx1">
                      <a:lumMod val="65000"/>
                      <a:lumOff val="3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nvGrpSpPr>
            <p:cNvPr id="90" name="Group 89">
              <a:extLst>
                <a:ext uri="{FF2B5EF4-FFF2-40B4-BE49-F238E27FC236}">
                  <a16:creationId xmlns:a16="http://schemas.microsoft.com/office/drawing/2014/main" id="{D1CF0E88-8C6A-4823-A2D4-8249072F2614}"/>
                </a:ext>
              </a:extLst>
            </p:cNvPr>
            <p:cNvGrpSpPr/>
            <p:nvPr/>
          </p:nvGrpSpPr>
          <p:grpSpPr>
            <a:xfrm>
              <a:off x="4386243" y="5123594"/>
              <a:ext cx="847636" cy="848053"/>
              <a:chOff x="3920848" y="4975391"/>
              <a:chExt cx="932400" cy="932858"/>
            </a:xfrm>
          </p:grpSpPr>
          <p:sp>
            <p:nvSpPr>
              <p:cNvPr id="91" name="Oval 90">
                <a:extLst>
                  <a:ext uri="{FF2B5EF4-FFF2-40B4-BE49-F238E27FC236}">
                    <a16:creationId xmlns:a16="http://schemas.microsoft.com/office/drawing/2014/main" id="{EEAC4815-397E-49F9-978D-BB10791B8A75}"/>
                  </a:ext>
                </a:extLst>
              </p:cNvPr>
              <p:cNvSpPr/>
              <p:nvPr/>
            </p:nvSpPr>
            <p:spPr>
              <a:xfrm>
                <a:off x="3920848" y="4975391"/>
                <a:ext cx="932400" cy="932858"/>
              </a:xfrm>
              <a:prstGeom prst="ellipse">
                <a:avLst/>
              </a:prstGeom>
              <a:solidFill>
                <a:schemeClr val="bg1"/>
              </a:solidFill>
              <a:ln>
                <a:noFill/>
              </a:ln>
              <a:effectLst>
                <a:outerShdw blurRad="101600" dir="21540000" sx="106000" sy="106000" algn="l" rotWithShape="0">
                  <a:schemeClr val="tx2">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dirty="0"/>
              </a:p>
            </p:txBody>
          </p:sp>
          <p:sp>
            <p:nvSpPr>
              <p:cNvPr id="92" name="Gear2">
                <a:extLst>
                  <a:ext uri="{FF2B5EF4-FFF2-40B4-BE49-F238E27FC236}">
                    <a16:creationId xmlns:a16="http://schemas.microsoft.com/office/drawing/2014/main" id="{AA1767F5-6647-40F3-BC35-D417A0A4D735}"/>
                  </a:ext>
                </a:extLst>
              </p:cNvPr>
              <p:cNvSpPr>
                <a:spLocks noChangeAspect="1" noEditPoints="1"/>
              </p:cNvSpPr>
              <p:nvPr>
                <p:custDataLst>
                  <p:tags r:id="rId1"/>
                </p:custDataLst>
              </p:nvPr>
            </p:nvSpPr>
            <p:spPr bwMode="auto">
              <a:xfrm>
                <a:off x="4124132" y="5186090"/>
                <a:ext cx="525832" cy="511460"/>
              </a:xfrm>
              <a:custGeom>
                <a:avLst/>
                <a:gdLst>
                  <a:gd name="T0" fmla="*/ 500 w 1150"/>
                  <a:gd name="T1" fmla="*/ 0 h 1150"/>
                  <a:gd name="T2" fmla="*/ 475 w 1150"/>
                  <a:gd name="T3" fmla="*/ 25 h 1150"/>
                  <a:gd name="T4" fmla="*/ 475 w 1150"/>
                  <a:gd name="T5" fmla="*/ 150 h 1150"/>
                  <a:gd name="T6" fmla="*/ 345 w 1150"/>
                  <a:gd name="T7" fmla="*/ 204 h 1150"/>
                  <a:gd name="T8" fmla="*/ 257 w 1150"/>
                  <a:gd name="T9" fmla="*/ 115 h 1150"/>
                  <a:gd name="T10" fmla="*/ 221 w 1150"/>
                  <a:gd name="T11" fmla="*/ 115 h 1150"/>
                  <a:gd name="T12" fmla="*/ 115 w 1150"/>
                  <a:gd name="T13" fmla="*/ 221 h 1150"/>
                  <a:gd name="T14" fmla="*/ 115 w 1150"/>
                  <a:gd name="T15" fmla="*/ 257 h 1150"/>
                  <a:gd name="T16" fmla="*/ 203 w 1150"/>
                  <a:gd name="T17" fmla="*/ 345 h 1150"/>
                  <a:gd name="T18" fmla="*/ 150 w 1150"/>
                  <a:gd name="T19" fmla="*/ 475 h 1150"/>
                  <a:gd name="T20" fmla="*/ 25 w 1150"/>
                  <a:gd name="T21" fmla="*/ 475 h 1150"/>
                  <a:gd name="T22" fmla="*/ 0 w 1150"/>
                  <a:gd name="T23" fmla="*/ 500 h 1150"/>
                  <a:gd name="T24" fmla="*/ 0 w 1150"/>
                  <a:gd name="T25" fmla="*/ 650 h 1150"/>
                  <a:gd name="T26" fmla="*/ 25 w 1150"/>
                  <a:gd name="T27" fmla="*/ 675 h 1150"/>
                  <a:gd name="T28" fmla="*/ 150 w 1150"/>
                  <a:gd name="T29" fmla="*/ 675 h 1150"/>
                  <a:gd name="T30" fmla="*/ 204 w 1150"/>
                  <a:gd name="T31" fmla="*/ 805 h 1150"/>
                  <a:gd name="T32" fmla="*/ 115 w 1150"/>
                  <a:gd name="T33" fmla="*/ 893 h 1150"/>
                  <a:gd name="T34" fmla="*/ 115 w 1150"/>
                  <a:gd name="T35" fmla="*/ 929 h 1150"/>
                  <a:gd name="T36" fmla="*/ 221 w 1150"/>
                  <a:gd name="T37" fmla="*/ 1035 h 1150"/>
                  <a:gd name="T38" fmla="*/ 257 w 1150"/>
                  <a:gd name="T39" fmla="*/ 1035 h 1150"/>
                  <a:gd name="T40" fmla="*/ 345 w 1150"/>
                  <a:gd name="T41" fmla="*/ 947 h 1150"/>
                  <a:gd name="T42" fmla="*/ 475 w 1150"/>
                  <a:gd name="T43" fmla="*/ 1000 h 1150"/>
                  <a:gd name="T44" fmla="*/ 475 w 1150"/>
                  <a:gd name="T45" fmla="*/ 1125 h 1150"/>
                  <a:gd name="T46" fmla="*/ 500 w 1150"/>
                  <a:gd name="T47" fmla="*/ 1150 h 1150"/>
                  <a:gd name="T48" fmla="*/ 650 w 1150"/>
                  <a:gd name="T49" fmla="*/ 1150 h 1150"/>
                  <a:gd name="T50" fmla="*/ 675 w 1150"/>
                  <a:gd name="T51" fmla="*/ 1125 h 1150"/>
                  <a:gd name="T52" fmla="*/ 675 w 1150"/>
                  <a:gd name="T53" fmla="*/ 1000 h 1150"/>
                  <a:gd name="T54" fmla="*/ 805 w 1150"/>
                  <a:gd name="T55" fmla="*/ 946 h 1150"/>
                  <a:gd name="T56" fmla="*/ 893 w 1150"/>
                  <a:gd name="T57" fmla="*/ 1035 h 1150"/>
                  <a:gd name="T58" fmla="*/ 929 w 1150"/>
                  <a:gd name="T59" fmla="*/ 1035 h 1150"/>
                  <a:gd name="T60" fmla="*/ 1035 w 1150"/>
                  <a:gd name="T61" fmla="*/ 929 h 1150"/>
                  <a:gd name="T62" fmla="*/ 1035 w 1150"/>
                  <a:gd name="T63" fmla="*/ 893 h 1150"/>
                  <a:gd name="T64" fmla="*/ 947 w 1150"/>
                  <a:gd name="T65" fmla="*/ 805 h 1150"/>
                  <a:gd name="T66" fmla="*/ 1001 w 1150"/>
                  <a:gd name="T67" fmla="*/ 675 h 1150"/>
                  <a:gd name="T68" fmla="*/ 1125 w 1150"/>
                  <a:gd name="T69" fmla="*/ 675 h 1150"/>
                  <a:gd name="T70" fmla="*/ 1150 w 1150"/>
                  <a:gd name="T71" fmla="*/ 650 h 1150"/>
                  <a:gd name="T72" fmla="*/ 1150 w 1150"/>
                  <a:gd name="T73" fmla="*/ 500 h 1150"/>
                  <a:gd name="T74" fmla="*/ 1125 w 1150"/>
                  <a:gd name="T75" fmla="*/ 475 h 1150"/>
                  <a:gd name="T76" fmla="*/ 1001 w 1150"/>
                  <a:gd name="T77" fmla="*/ 475 h 1150"/>
                  <a:gd name="T78" fmla="*/ 947 w 1150"/>
                  <a:gd name="T79" fmla="*/ 345 h 1150"/>
                  <a:gd name="T80" fmla="*/ 1035 w 1150"/>
                  <a:gd name="T81" fmla="*/ 257 h 1150"/>
                  <a:gd name="T82" fmla="*/ 1035 w 1150"/>
                  <a:gd name="T83" fmla="*/ 221 h 1150"/>
                  <a:gd name="T84" fmla="*/ 929 w 1150"/>
                  <a:gd name="T85" fmla="*/ 115 h 1150"/>
                  <a:gd name="T86" fmla="*/ 893 w 1150"/>
                  <a:gd name="T87" fmla="*/ 115 h 1150"/>
                  <a:gd name="T88" fmla="*/ 805 w 1150"/>
                  <a:gd name="T89" fmla="*/ 203 h 1150"/>
                  <a:gd name="T90" fmla="*/ 675 w 1150"/>
                  <a:gd name="T91" fmla="*/ 150 h 1150"/>
                  <a:gd name="T92" fmla="*/ 675 w 1150"/>
                  <a:gd name="T93" fmla="*/ 25 h 1150"/>
                  <a:gd name="T94" fmla="*/ 650 w 1150"/>
                  <a:gd name="T95" fmla="*/ 0 h 1150"/>
                  <a:gd name="T96" fmla="*/ 500 w 1150"/>
                  <a:gd name="T97" fmla="*/ 0 h 1150"/>
                  <a:gd name="T98" fmla="*/ 577 w 1150"/>
                  <a:gd name="T99" fmla="*/ 413 h 1150"/>
                  <a:gd name="T100" fmla="*/ 690 w 1150"/>
                  <a:gd name="T101" fmla="*/ 460 h 1150"/>
                  <a:gd name="T102" fmla="*/ 690 w 1150"/>
                  <a:gd name="T103" fmla="*/ 690 h 1150"/>
                  <a:gd name="T104" fmla="*/ 460 w 1150"/>
                  <a:gd name="T105" fmla="*/ 690 h 1150"/>
                  <a:gd name="T106" fmla="*/ 460 w 1150"/>
                  <a:gd name="T107" fmla="*/ 460 h 1150"/>
                  <a:gd name="T108" fmla="*/ 577 w 1150"/>
                  <a:gd name="T109" fmla="*/ 413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0" h="1150">
                    <a:moveTo>
                      <a:pt x="500" y="0"/>
                    </a:moveTo>
                    <a:cubicBezTo>
                      <a:pt x="486" y="0"/>
                      <a:pt x="475" y="11"/>
                      <a:pt x="475" y="25"/>
                    </a:cubicBezTo>
                    <a:lnTo>
                      <a:pt x="475" y="150"/>
                    </a:lnTo>
                    <a:cubicBezTo>
                      <a:pt x="429" y="160"/>
                      <a:pt x="385" y="179"/>
                      <a:pt x="345" y="204"/>
                    </a:cubicBezTo>
                    <a:lnTo>
                      <a:pt x="257" y="115"/>
                    </a:lnTo>
                    <a:cubicBezTo>
                      <a:pt x="247" y="106"/>
                      <a:pt x="231" y="106"/>
                      <a:pt x="221" y="115"/>
                    </a:cubicBezTo>
                    <a:lnTo>
                      <a:pt x="115" y="221"/>
                    </a:lnTo>
                    <a:cubicBezTo>
                      <a:pt x="106" y="231"/>
                      <a:pt x="106" y="247"/>
                      <a:pt x="115" y="257"/>
                    </a:cubicBezTo>
                    <a:lnTo>
                      <a:pt x="203" y="345"/>
                    </a:lnTo>
                    <a:cubicBezTo>
                      <a:pt x="179" y="385"/>
                      <a:pt x="160" y="429"/>
                      <a:pt x="150" y="475"/>
                    </a:cubicBezTo>
                    <a:lnTo>
                      <a:pt x="25" y="475"/>
                    </a:lnTo>
                    <a:cubicBezTo>
                      <a:pt x="11" y="475"/>
                      <a:pt x="0" y="486"/>
                      <a:pt x="0" y="500"/>
                    </a:cubicBezTo>
                    <a:lnTo>
                      <a:pt x="0" y="650"/>
                    </a:lnTo>
                    <a:cubicBezTo>
                      <a:pt x="0" y="664"/>
                      <a:pt x="11" y="675"/>
                      <a:pt x="25" y="675"/>
                    </a:cubicBezTo>
                    <a:lnTo>
                      <a:pt x="150" y="675"/>
                    </a:lnTo>
                    <a:cubicBezTo>
                      <a:pt x="160" y="721"/>
                      <a:pt x="179" y="765"/>
                      <a:pt x="204" y="805"/>
                    </a:cubicBezTo>
                    <a:lnTo>
                      <a:pt x="115" y="893"/>
                    </a:lnTo>
                    <a:cubicBezTo>
                      <a:pt x="106" y="903"/>
                      <a:pt x="106" y="919"/>
                      <a:pt x="115" y="929"/>
                    </a:cubicBezTo>
                    <a:lnTo>
                      <a:pt x="221" y="1035"/>
                    </a:lnTo>
                    <a:cubicBezTo>
                      <a:pt x="231" y="1044"/>
                      <a:pt x="247" y="1044"/>
                      <a:pt x="257" y="1035"/>
                    </a:cubicBezTo>
                    <a:lnTo>
                      <a:pt x="345" y="947"/>
                    </a:lnTo>
                    <a:cubicBezTo>
                      <a:pt x="385" y="971"/>
                      <a:pt x="429" y="990"/>
                      <a:pt x="475" y="1000"/>
                    </a:cubicBezTo>
                    <a:lnTo>
                      <a:pt x="475" y="1125"/>
                    </a:lnTo>
                    <a:cubicBezTo>
                      <a:pt x="475" y="1139"/>
                      <a:pt x="486" y="1150"/>
                      <a:pt x="500" y="1150"/>
                    </a:cubicBezTo>
                    <a:lnTo>
                      <a:pt x="650" y="1150"/>
                    </a:lnTo>
                    <a:cubicBezTo>
                      <a:pt x="664" y="1150"/>
                      <a:pt x="675" y="1139"/>
                      <a:pt x="675" y="1125"/>
                    </a:cubicBezTo>
                    <a:lnTo>
                      <a:pt x="675" y="1000"/>
                    </a:lnTo>
                    <a:cubicBezTo>
                      <a:pt x="721" y="990"/>
                      <a:pt x="765" y="971"/>
                      <a:pt x="805" y="946"/>
                    </a:cubicBezTo>
                    <a:lnTo>
                      <a:pt x="893" y="1035"/>
                    </a:lnTo>
                    <a:cubicBezTo>
                      <a:pt x="903" y="1044"/>
                      <a:pt x="919" y="1044"/>
                      <a:pt x="929" y="1035"/>
                    </a:cubicBezTo>
                    <a:lnTo>
                      <a:pt x="1035" y="929"/>
                    </a:lnTo>
                    <a:cubicBezTo>
                      <a:pt x="1044" y="919"/>
                      <a:pt x="1044" y="903"/>
                      <a:pt x="1035" y="893"/>
                    </a:cubicBezTo>
                    <a:lnTo>
                      <a:pt x="947" y="805"/>
                    </a:lnTo>
                    <a:cubicBezTo>
                      <a:pt x="971" y="765"/>
                      <a:pt x="990" y="721"/>
                      <a:pt x="1001" y="675"/>
                    </a:cubicBezTo>
                    <a:lnTo>
                      <a:pt x="1125" y="675"/>
                    </a:lnTo>
                    <a:cubicBezTo>
                      <a:pt x="1139" y="675"/>
                      <a:pt x="1150" y="664"/>
                      <a:pt x="1150" y="650"/>
                    </a:cubicBezTo>
                    <a:lnTo>
                      <a:pt x="1150" y="500"/>
                    </a:lnTo>
                    <a:cubicBezTo>
                      <a:pt x="1150" y="486"/>
                      <a:pt x="1139" y="475"/>
                      <a:pt x="1125" y="475"/>
                    </a:cubicBezTo>
                    <a:lnTo>
                      <a:pt x="1001" y="475"/>
                    </a:lnTo>
                    <a:cubicBezTo>
                      <a:pt x="990" y="429"/>
                      <a:pt x="971" y="385"/>
                      <a:pt x="947" y="345"/>
                    </a:cubicBezTo>
                    <a:lnTo>
                      <a:pt x="1035" y="257"/>
                    </a:lnTo>
                    <a:cubicBezTo>
                      <a:pt x="1044" y="247"/>
                      <a:pt x="1044" y="231"/>
                      <a:pt x="1035" y="221"/>
                    </a:cubicBezTo>
                    <a:lnTo>
                      <a:pt x="929" y="115"/>
                    </a:lnTo>
                    <a:cubicBezTo>
                      <a:pt x="919" y="106"/>
                      <a:pt x="903" y="106"/>
                      <a:pt x="893" y="115"/>
                    </a:cubicBezTo>
                    <a:lnTo>
                      <a:pt x="805" y="203"/>
                    </a:lnTo>
                    <a:cubicBezTo>
                      <a:pt x="765" y="179"/>
                      <a:pt x="721" y="160"/>
                      <a:pt x="675" y="150"/>
                    </a:cubicBezTo>
                    <a:lnTo>
                      <a:pt x="675" y="25"/>
                    </a:lnTo>
                    <a:cubicBezTo>
                      <a:pt x="675" y="11"/>
                      <a:pt x="664" y="0"/>
                      <a:pt x="650" y="0"/>
                    </a:cubicBezTo>
                    <a:lnTo>
                      <a:pt x="500" y="0"/>
                    </a:lnTo>
                    <a:moveTo>
                      <a:pt x="577" y="413"/>
                    </a:moveTo>
                    <a:cubicBezTo>
                      <a:pt x="620" y="413"/>
                      <a:pt x="660" y="430"/>
                      <a:pt x="690" y="460"/>
                    </a:cubicBezTo>
                    <a:cubicBezTo>
                      <a:pt x="753" y="524"/>
                      <a:pt x="753" y="626"/>
                      <a:pt x="690" y="690"/>
                    </a:cubicBezTo>
                    <a:cubicBezTo>
                      <a:pt x="626" y="753"/>
                      <a:pt x="524" y="753"/>
                      <a:pt x="460" y="690"/>
                    </a:cubicBezTo>
                    <a:cubicBezTo>
                      <a:pt x="397" y="626"/>
                      <a:pt x="397" y="524"/>
                      <a:pt x="460" y="460"/>
                    </a:cubicBezTo>
                    <a:cubicBezTo>
                      <a:pt x="491" y="429"/>
                      <a:pt x="533" y="412"/>
                      <a:pt x="577" y="413"/>
                    </a:cubicBezTo>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93" name="Group 92">
              <a:extLst>
                <a:ext uri="{FF2B5EF4-FFF2-40B4-BE49-F238E27FC236}">
                  <a16:creationId xmlns:a16="http://schemas.microsoft.com/office/drawing/2014/main" id="{1F5B2010-F80D-4467-B1D9-6D7BB2A4EC88}"/>
                </a:ext>
              </a:extLst>
            </p:cNvPr>
            <p:cNvGrpSpPr/>
            <p:nvPr/>
          </p:nvGrpSpPr>
          <p:grpSpPr>
            <a:xfrm>
              <a:off x="3695500" y="3295643"/>
              <a:ext cx="847636" cy="848053"/>
              <a:chOff x="7492116" y="4975391"/>
              <a:chExt cx="932400" cy="932858"/>
            </a:xfrm>
          </p:grpSpPr>
          <p:sp>
            <p:nvSpPr>
              <p:cNvPr id="94" name="Oval 93">
                <a:extLst>
                  <a:ext uri="{FF2B5EF4-FFF2-40B4-BE49-F238E27FC236}">
                    <a16:creationId xmlns:a16="http://schemas.microsoft.com/office/drawing/2014/main" id="{9DB4E026-C779-43B4-A4FA-9D4D0F74B805}"/>
                  </a:ext>
                </a:extLst>
              </p:cNvPr>
              <p:cNvSpPr/>
              <p:nvPr/>
            </p:nvSpPr>
            <p:spPr>
              <a:xfrm>
                <a:off x="7492116" y="4975391"/>
                <a:ext cx="932400" cy="932858"/>
              </a:xfrm>
              <a:prstGeom prst="ellipse">
                <a:avLst/>
              </a:prstGeom>
              <a:solidFill>
                <a:schemeClr val="bg1"/>
              </a:solidFill>
              <a:ln>
                <a:noFill/>
              </a:ln>
              <a:effectLst>
                <a:outerShdw blurRad="101600" dir="21540000" sx="106000" sy="106000" algn="l" rotWithShape="0">
                  <a:schemeClr val="tx2">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dirty="0"/>
              </a:p>
            </p:txBody>
          </p:sp>
          <p:sp>
            <p:nvSpPr>
              <p:cNvPr id="95" name="Freeform 404">
                <a:extLst>
                  <a:ext uri="{FF2B5EF4-FFF2-40B4-BE49-F238E27FC236}">
                    <a16:creationId xmlns:a16="http://schemas.microsoft.com/office/drawing/2014/main" id="{BC205528-FD02-4995-A889-03487EEA396E}"/>
                  </a:ext>
                </a:extLst>
              </p:cNvPr>
              <p:cNvSpPr>
                <a:spLocks noEditPoints="1"/>
              </p:cNvSpPr>
              <p:nvPr/>
            </p:nvSpPr>
            <p:spPr bwMode="auto">
              <a:xfrm>
                <a:off x="7655490" y="5118027"/>
                <a:ext cx="605652" cy="647586"/>
              </a:xfrm>
              <a:custGeom>
                <a:avLst/>
                <a:gdLst>
                  <a:gd name="T0" fmla="*/ 949 w 2589"/>
                  <a:gd name="T1" fmla="*/ 2674 h 2823"/>
                  <a:gd name="T2" fmla="*/ 468 w 2589"/>
                  <a:gd name="T3" fmla="*/ 2607 h 2823"/>
                  <a:gd name="T4" fmla="*/ 6 w 2589"/>
                  <a:gd name="T5" fmla="*/ 2441 h 2823"/>
                  <a:gd name="T6" fmla="*/ 6 w 2589"/>
                  <a:gd name="T7" fmla="*/ 1223 h 2823"/>
                  <a:gd name="T8" fmla="*/ 415 w 2589"/>
                  <a:gd name="T9" fmla="*/ 1094 h 2823"/>
                  <a:gd name="T10" fmla="*/ 1102 w 2589"/>
                  <a:gd name="T11" fmla="*/ 590 h 2823"/>
                  <a:gd name="T12" fmla="*/ 1362 w 2589"/>
                  <a:gd name="T13" fmla="*/ 35 h 2823"/>
                  <a:gd name="T14" fmla="*/ 1902 w 2589"/>
                  <a:gd name="T15" fmla="*/ 281 h 2823"/>
                  <a:gd name="T16" fmla="*/ 1897 w 2589"/>
                  <a:gd name="T17" fmla="*/ 785 h 2823"/>
                  <a:gd name="T18" fmla="*/ 2004 w 2589"/>
                  <a:gd name="T19" fmla="*/ 869 h 2823"/>
                  <a:gd name="T20" fmla="*/ 2584 w 2589"/>
                  <a:gd name="T21" fmla="*/ 1282 h 2823"/>
                  <a:gd name="T22" fmla="*/ 2523 w 2589"/>
                  <a:gd name="T23" fmla="*/ 1551 h 2823"/>
                  <a:gd name="T24" fmla="*/ 2496 w 2589"/>
                  <a:gd name="T25" fmla="*/ 1844 h 2823"/>
                  <a:gd name="T26" fmla="*/ 2408 w 2589"/>
                  <a:gd name="T27" fmla="*/ 2237 h 2823"/>
                  <a:gd name="T28" fmla="*/ 1978 w 2589"/>
                  <a:gd name="T29" fmla="*/ 2801 h 2823"/>
                  <a:gd name="T30" fmla="*/ 2001 w 2589"/>
                  <a:gd name="T31" fmla="*/ 2573 h 2823"/>
                  <a:gd name="T32" fmla="*/ 2182 w 2589"/>
                  <a:gd name="T33" fmla="*/ 2189 h 2823"/>
                  <a:gd name="T34" fmla="*/ 2254 w 2589"/>
                  <a:gd name="T35" fmla="*/ 1856 h 2823"/>
                  <a:gd name="T36" fmla="*/ 2280 w 2589"/>
                  <a:gd name="T37" fmla="*/ 1512 h 2823"/>
                  <a:gd name="T38" fmla="*/ 2270 w 2589"/>
                  <a:gd name="T39" fmla="*/ 1122 h 2823"/>
                  <a:gd name="T40" fmla="*/ 1892 w 2589"/>
                  <a:gd name="T41" fmla="*/ 1084 h 2823"/>
                  <a:gd name="T42" fmla="*/ 1571 w 2589"/>
                  <a:gd name="T43" fmla="*/ 1040 h 2823"/>
                  <a:gd name="T44" fmla="*/ 1718 w 2589"/>
                  <a:gd name="T45" fmla="*/ 519 h 2823"/>
                  <a:gd name="T46" fmla="*/ 1516 w 2589"/>
                  <a:gd name="T47" fmla="*/ 225 h 2823"/>
                  <a:gd name="T48" fmla="*/ 1427 w 2589"/>
                  <a:gd name="T49" fmla="*/ 265 h 2823"/>
                  <a:gd name="T50" fmla="*/ 1237 w 2589"/>
                  <a:gd name="T51" fmla="*/ 763 h 2823"/>
                  <a:gd name="T52" fmla="*/ 675 w 2589"/>
                  <a:gd name="T53" fmla="*/ 1307 h 2823"/>
                  <a:gd name="T54" fmla="*/ 640 w 2589"/>
                  <a:gd name="T55" fmla="*/ 1847 h 2823"/>
                  <a:gd name="T56" fmla="*/ 731 w 2589"/>
                  <a:gd name="T57" fmla="*/ 2396 h 2823"/>
                  <a:gd name="T58" fmla="*/ 1473 w 2589"/>
                  <a:gd name="T59" fmla="*/ 2594 h 2823"/>
                  <a:gd name="T60" fmla="*/ 2001 w 2589"/>
                  <a:gd name="T61" fmla="*/ 2573 h 2823"/>
                  <a:gd name="T62" fmla="*/ 392 w 2589"/>
                  <a:gd name="T63" fmla="*/ 2200 h 2823"/>
                  <a:gd name="T64" fmla="*/ 272 w 2589"/>
                  <a:gd name="T65" fmla="*/ 2375 h 2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89" h="2823">
                    <a:moveTo>
                      <a:pt x="1431" y="2805"/>
                    </a:moveTo>
                    <a:cubicBezTo>
                      <a:pt x="1319" y="2789"/>
                      <a:pt x="1138" y="2739"/>
                      <a:pt x="949" y="2674"/>
                    </a:cubicBezTo>
                    <a:lnTo>
                      <a:pt x="781" y="2615"/>
                    </a:lnTo>
                    <a:lnTo>
                      <a:pt x="468" y="2607"/>
                    </a:lnTo>
                    <a:cubicBezTo>
                      <a:pt x="208" y="2601"/>
                      <a:pt x="149" y="2596"/>
                      <a:pt x="116" y="2579"/>
                    </a:cubicBezTo>
                    <a:cubicBezTo>
                      <a:pt x="63" y="2550"/>
                      <a:pt x="14" y="2489"/>
                      <a:pt x="6" y="2441"/>
                    </a:cubicBezTo>
                    <a:cubicBezTo>
                      <a:pt x="1" y="2418"/>
                      <a:pt x="0" y="2136"/>
                      <a:pt x="2" y="1812"/>
                    </a:cubicBezTo>
                    <a:lnTo>
                      <a:pt x="6" y="1223"/>
                    </a:lnTo>
                    <a:lnTo>
                      <a:pt x="42" y="1176"/>
                    </a:lnTo>
                    <a:cubicBezTo>
                      <a:pt x="99" y="1100"/>
                      <a:pt x="128" y="1094"/>
                      <a:pt x="415" y="1094"/>
                    </a:cubicBezTo>
                    <a:cubicBezTo>
                      <a:pt x="619" y="1094"/>
                      <a:pt x="674" y="1091"/>
                      <a:pt x="695" y="1076"/>
                    </a:cubicBezTo>
                    <a:cubicBezTo>
                      <a:pt x="716" y="1061"/>
                      <a:pt x="951" y="781"/>
                      <a:pt x="1102" y="590"/>
                    </a:cubicBezTo>
                    <a:cubicBezTo>
                      <a:pt x="1114" y="575"/>
                      <a:pt x="1136" y="512"/>
                      <a:pt x="1151" y="450"/>
                    </a:cubicBezTo>
                    <a:cubicBezTo>
                      <a:pt x="1218" y="165"/>
                      <a:pt x="1257" y="88"/>
                      <a:pt x="1362" y="35"/>
                    </a:cubicBezTo>
                    <a:cubicBezTo>
                      <a:pt x="1427" y="2"/>
                      <a:pt x="1487" y="0"/>
                      <a:pt x="1599" y="26"/>
                    </a:cubicBezTo>
                    <a:cubicBezTo>
                      <a:pt x="1748" y="61"/>
                      <a:pt x="1848" y="145"/>
                      <a:pt x="1902" y="281"/>
                    </a:cubicBezTo>
                    <a:cubicBezTo>
                      <a:pt x="1926" y="341"/>
                      <a:pt x="1930" y="374"/>
                      <a:pt x="1930" y="525"/>
                    </a:cubicBezTo>
                    <a:cubicBezTo>
                      <a:pt x="1930" y="684"/>
                      <a:pt x="1927" y="708"/>
                      <a:pt x="1897" y="785"/>
                    </a:cubicBezTo>
                    <a:lnTo>
                      <a:pt x="1865" y="869"/>
                    </a:lnTo>
                    <a:lnTo>
                      <a:pt x="2004" y="869"/>
                    </a:lnTo>
                    <a:cubicBezTo>
                      <a:pt x="2258" y="869"/>
                      <a:pt x="2355" y="898"/>
                      <a:pt x="2461" y="1005"/>
                    </a:cubicBezTo>
                    <a:cubicBezTo>
                      <a:pt x="2543" y="1087"/>
                      <a:pt x="2577" y="1164"/>
                      <a:pt x="2584" y="1282"/>
                    </a:cubicBezTo>
                    <a:cubicBezTo>
                      <a:pt x="2589" y="1359"/>
                      <a:pt x="2584" y="1396"/>
                      <a:pt x="2562" y="1461"/>
                    </a:cubicBezTo>
                    <a:cubicBezTo>
                      <a:pt x="2547" y="1507"/>
                      <a:pt x="2530" y="1547"/>
                      <a:pt x="2523" y="1551"/>
                    </a:cubicBezTo>
                    <a:cubicBezTo>
                      <a:pt x="2516" y="1555"/>
                      <a:pt x="2515" y="1599"/>
                      <a:pt x="2519" y="1654"/>
                    </a:cubicBezTo>
                    <a:cubicBezTo>
                      <a:pt x="2526" y="1737"/>
                      <a:pt x="2523" y="1764"/>
                      <a:pt x="2496" y="1844"/>
                    </a:cubicBezTo>
                    <a:cubicBezTo>
                      <a:pt x="2478" y="1899"/>
                      <a:pt x="2462" y="1982"/>
                      <a:pt x="2458" y="2043"/>
                    </a:cubicBezTo>
                    <a:cubicBezTo>
                      <a:pt x="2453" y="2130"/>
                      <a:pt x="2444" y="2164"/>
                      <a:pt x="2408" y="2237"/>
                    </a:cubicBezTo>
                    <a:cubicBezTo>
                      <a:pt x="2383" y="2286"/>
                      <a:pt x="2360" y="2355"/>
                      <a:pt x="2356" y="2392"/>
                    </a:cubicBezTo>
                    <a:cubicBezTo>
                      <a:pt x="2331" y="2606"/>
                      <a:pt x="2192" y="2755"/>
                      <a:pt x="1978" y="2801"/>
                    </a:cubicBezTo>
                    <a:cubicBezTo>
                      <a:pt x="1884" y="2821"/>
                      <a:pt x="1556" y="2823"/>
                      <a:pt x="1431" y="2805"/>
                    </a:cubicBezTo>
                    <a:close/>
                    <a:moveTo>
                      <a:pt x="2001" y="2573"/>
                    </a:moveTo>
                    <a:cubicBezTo>
                      <a:pt x="2101" y="2528"/>
                      <a:pt x="2156" y="2423"/>
                      <a:pt x="2148" y="2294"/>
                    </a:cubicBezTo>
                    <a:cubicBezTo>
                      <a:pt x="2143" y="2234"/>
                      <a:pt x="2146" y="2224"/>
                      <a:pt x="2182" y="2189"/>
                    </a:cubicBezTo>
                    <a:cubicBezTo>
                      <a:pt x="2243" y="2128"/>
                      <a:pt x="2265" y="2019"/>
                      <a:pt x="2236" y="1934"/>
                    </a:cubicBezTo>
                    <a:cubicBezTo>
                      <a:pt x="2224" y="1899"/>
                      <a:pt x="2226" y="1890"/>
                      <a:pt x="2254" y="1856"/>
                    </a:cubicBezTo>
                    <a:cubicBezTo>
                      <a:pt x="2316" y="1782"/>
                      <a:pt x="2325" y="1663"/>
                      <a:pt x="2276" y="1566"/>
                    </a:cubicBezTo>
                    <a:cubicBezTo>
                      <a:pt x="2255" y="1524"/>
                      <a:pt x="2255" y="1523"/>
                      <a:pt x="2280" y="1512"/>
                    </a:cubicBezTo>
                    <a:cubicBezTo>
                      <a:pt x="2318" y="1495"/>
                      <a:pt x="2374" y="1375"/>
                      <a:pt x="2374" y="1309"/>
                    </a:cubicBezTo>
                    <a:cubicBezTo>
                      <a:pt x="2374" y="1238"/>
                      <a:pt x="2335" y="1167"/>
                      <a:pt x="2270" y="1122"/>
                    </a:cubicBezTo>
                    <a:lnTo>
                      <a:pt x="2220" y="1088"/>
                    </a:lnTo>
                    <a:lnTo>
                      <a:pt x="1892" y="1084"/>
                    </a:lnTo>
                    <a:lnTo>
                      <a:pt x="1563" y="1080"/>
                    </a:lnTo>
                    <a:lnTo>
                      <a:pt x="1571" y="1040"/>
                    </a:lnTo>
                    <a:cubicBezTo>
                      <a:pt x="1581" y="986"/>
                      <a:pt x="1613" y="898"/>
                      <a:pt x="1670" y="763"/>
                    </a:cubicBezTo>
                    <a:cubicBezTo>
                      <a:pt x="1716" y="656"/>
                      <a:pt x="1718" y="643"/>
                      <a:pt x="1718" y="519"/>
                    </a:cubicBezTo>
                    <a:cubicBezTo>
                      <a:pt x="1718" y="402"/>
                      <a:pt x="1715" y="382"/>
                      <a:pt x="1687" y="332"/>
                    </a:cubicBezTo>
                    <a:cubicBezTo>
                      <a:pt x="1649" y="266"/>
                      <a:pt x="1603" y="236"/>
                      <a:pt x="1516" y="225"/>
                    </a:cubicBezTo>
                    <a:lnTo>
                      <a:pt x="1451" y="216"/>
                    </a:lnTo>
                    <a:lnTo>
                      <a:pt x="1427" y="265"/>
                    </a:lnTo>
                    <a:cubicBezTo>
                      <a:pt x="1414" y="291"/>
                      <a:pt x="1388" y="376"/>
                      <a:pt x="1369" y="454"/>
                    </a:cubicBezTo>
                    <a:cubicBezTo>
                      <a:pt x="1327" y="631"/>
                      <a:pt x="1303" y="686"/>
                      <a:pt x="1237" y="763"/>
                    </a:cubicBezTo>
                    <a:cubicBezTo>
                      <a:pt x="1207" y="797"/>
                      <a:pt x="1120" y="904"/>
                      <a:pt x="1042" y="1002"/>
                    </a:cubicBezTo>
                    <a:cubicBezTo>
                      <a:pt x="850" y="1242"/>
                      <a:pt x="772" y="1307"/>
                      <a:pt x="675" y="1307"/>
                    </a:cubicBezTo>
                    <a:lnTo>
                      <a:pt x="637" y="1307"/>
                    </a:lnTo>
                    <a:lnTo>
                      <a:pt x="640" y="1847"/>
                    </a:lnTo>
                    <a:lnTo>
                      <a:pt x="643" y="2388"/>
                    </a:lnTo>
                    <a:lnTo>
                      <a:pt x="731" y="2396"/>
                    </a:lnTo>
                    <a:cubicBezTo>
                      <a:pt x="782" y="2401"/>
                      <a:pt x="888" y="2429"/>
                      <a:pt x="987" y="2462"/>
                    </a:cubicBezTo>
                    <a:cubicBezTo>
                      <a:pt x="1169" y="2525"/>
                      <a:pt x="1361" y="2576"/>
                      <a:pt x="1473" y="2594"/>
                    </a:cubicBezTo>
                    <a:cubicBezTo>
                      <a:pt x="1512" y="2600"/>
                      <a:pt x="1633" y="2604"/>
                      <a:pt x="1743" y="2602"/>
                    </a:cubicBezTo>
                    <a:cubicBezTo>
                      <a:pt x="1916" y="2600"/>
                      <a:pt x="1951" y="2596"/>
                      <a:pt x="2001" y="2573"/>
                    </a:cubicBezTo>
                    <a:close/>
                    <a:moveTo>
                      <a:pt x="387" y="2357"/>
                    </a:moveTo>
                    <a:cubicBezTo>
                      <a:pt x="435" y="2324"/>
                      <a:pt x="437" y="2242"/>
                      <a:pt x="392" y="2200"/>
                    </a:cubicBezTo>
                    <a:cubicBezTo>
                      <a:pt x="348" y="2160"/>
                      <a:pt x="299" y="2160"/>
                      <a:pt x="250" y="2201"/>
                    </a:cubicBezTo>
                    <a:cubicBezTo>
                      <a:pt x="190" y="2252"/>
                      <a:pt x="200" y="2336"/>
                      <a:pt x="272" y="2375"/>
                    </a:cubicBezTo>
                    <a:cubicBezTo>
                      <a:pt x="309" y="2395"/>
                      <a:pt x="340" y="2390"/>
                      <a:pt x="387" y="2357"/>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grpSp>
          <p:nvGrpSpPr>
            <p:cNvPr id="96" name="Group 95">
              <a:extLst>
                <a:ext uri="{FF2B5EF4-FFF2-40B4-BE49-F238E27FC236}">
                  <a16:creationId xmlns:a16="http://schemas.microsoft.com/office/drawing/2014/main" id="{73ECA721-08F3-4931-B49D-845E0E5FB1F6}"/>
                </a:ext>
              </a:extLst>
            </p:cNvPr>
            <p:cNvGrpSpPr/>
            <p:nvPr/>
          </p:nvGrpSpPr>
          <p:grpSpPr>
            <a:xfrm>
              <a:off x="6204856" y="3307174"/>
              <a:ext cx="847636" cy="848053"/>
              <a:chOff x="6204856" y="3307174"/>
              <a:chExt cx="847636" cy="848053"/>
            </a:xfrm>
          </p:grpSpPr>
          <p:sp>
            <p:nvSpPr>
              <p:cNvPr id="97" name="Oval 96">
                <a:extLst>
                  <a:ext uri="{FF2B5EF4-FFF2-40B4-BE49-F238E27FC236}">
                    <a16:creationId xmlns:a16="http://schemas.microsoft.com/office/drawing/2014/main" id="{8612DF48-3DC8-47A2-B9A2-D15FCB589DC7}"/>
                  </a:ext>
                </a:extLst>
              </p:cNvPr>
              <p:cNvSpPr/>
              <p:nvPr/>
            </p:nvSpPr>
            <p:spPr>
              <a:xfrm>
                <a:off x="6204856" y="3307174"/>
                <a:ext cx="847636" cy="848053"/>
              </a:xfrm>
              <a:prstGeom prst="ellipse">
                <a:avLst/>
              </a:prstGeom>
              <a:solidFill>
                <a:schemeClr val="bg1"/>
              </a:solidFill>
              <a:ln>
                <a:noFill/>
              </a:ln>
              <a:effectLst>
                <a:outerShdw blurRad="101600" dir="21540000" sx="106000" sy="106000" algn="l" rotWithShape="0">
                  <a:schemeClr val="tx2">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dirty="0"/>
              </a:p>
            </p:txBody>
          </p:sp>
          <p:sp>
            <p:nvSpPr>
              <p:cNvPr id="98" name="Arrow: Curved Down 97">
                <a:extLst>
                  <a:ext uri="{FF2B5EF4-FFF2-40B4-BE49-F238E27FC236}">
                    <a16:creationId xmlns:a16="http://schemas.microsoft.com/office/drawing/2014/main" id="{67F61A03-B8E8-479F-A58C-DF3E02C074BC}"/>
                  </a:ext>
                </a:extLst>
              </p:cNvPr>
              <p:cNvSpPr/>
              <p:nvPr/>
            </p:nvSpPr>
            <p:spPr>
              <a:xfrm>
                <a:off x="6343039" y="3430268"/>
                <a:ext cx="496460" cy="252254"/>
              </a:xfrm>
              <a:prstGeom prst="curved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99" name="Arrow: Curved Down 98">
                <a:extLst>
                  <a:ext uri="{FF2B5EF4-FFF2-40B4-BE49-F238E27FC236}">
                    <a16:creationId xmlns:a16="http://schemas.microsoft.com/office/drawing/2014/main" id="{BAAC9C7C-6297-43AA-BF24-2F7B5CE1B1B8}"/>
                  </a:ext>
                </a:extLst>
              </p:cNvPr>
              <p:cNvSpPr/>
              <p:nvPr/>
            </p:nvSpPr>
            <p:spPr>
              <a:xfrm rot="10389670">
                <a:off x="6358047" y="3770921"/>
                <a:ext cx="496460" cy="203245"/>
              </a:xfrm>
              <a:prstGeom prst="curved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100" name="Arrow: Right 99">
              <a:extLst>
                <a:ext uri="{FF2B5EF4-FFF2-40B4-BE49-F238E27FC236}">
                  <a16:creationId xmlns:a16="http://schemas.microsoft.com/office/drawing/2014/main" id="{63B5353E-2ED3-4FE0-AD8B-981984EA45DA}"/>
                </a:ext>
              </a:extLst>
            </p:cNvPr>
            <p:cNvSpPr/>
            <p:nvPr/>
          </p:nvSpPr>
          <p:spPr>
            <a:xfrm>
              <a:off x="10318960" y="5361453"/>
              <a:ext cx="1528282" cy="372333"/>
            </a:xfrm>
            <a:prstGeom prst="rightArrow">
              <a:avLst/>
            </a:prstGeom>
            <a:solidFill>
              <a:srgbClr val="7030A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102" name="TextBox 101">
            <a:extLst>
              <a:ext uri="{FF2B5EF4-FFF2-40B4-BE49-F238E27FC236}">
                <a16:creationId xmlns:a16="http://schemas.microsoft.com/office/drawing/2014/main" id="{6AEE7C2A-4510-4F26-8F6B-935FAAE3C11E}"/>
              </a:ext>
            </a:extLst>
          </p:cNvPr>
          <p:cNvSpPr txBox="1"/>
          <p:nvPr/>
        </p:nvSpPr>
        <p:spPr>
          <a:xfrm>
            <a:off x="838621" y="166714"/>
            <a:ext cx="8948915" cy="769441"/>
          </a:xfrm>
          <a:prstGeom prst="rect">
            <a:avLst/>
          </a:prstGeom>
          <a:noFill/>
        </p:spPr>
        <p:txBody>
          <a:bodyPr wrap="square" rtlCol="0">
            <a:spAutoFit/>
          </a:bodyPr>
          <a:lstStyle/>
          <a:p>
            <a:r>
              <a:rPr lang="en-US" sz="4400" b="1" dirty="0">
                <a:latin typeface="+mj-lt"/>
                <a:ea typeface="+mj-ea"/>
                <a:cs typeface="+mj-cs"/>
              </a:rPr>
              <a:t>Implementation Success Journey</a:t>
            </a:r>
          </a:p>
        </p:txBody>
      </p:sp>
    </p:spTree>
    <p:extLst>
      <p:ext uri="{BB962C8B-B14F-4D97-AF65-F5344CB8AC3E}">
        <p14:creationId xmlns:p14="http://schemas.microsoft.com/office/powerpoint/2010/main" val="41960866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6CA8C01D-133D-411C-9D8C-CAEDC5AE75C3}"/>
              </a:ext>
            </a:extLst>
          </p:cNvPr>
          <p:cNvCxnSpPr>
            <a:cxnSpLocks/>
          </p:cNvCxnSpPr>
          <p:nvPr/>
        </p:nvCxnSpPr>
        <p:spPr>
          <a:xfrm flipV="1">
            <a:off x="0" y="452582"/>
            <a:ext cx="12192000" cy="1"/>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40B71E1-3ECD-4EC2-9B8A-C95881D39E86}"/>
              </a:ext>
            </a:extLst>
          </p:cNvPr>
          <p:cNvSpPr/>
          <p:nvPr/>
        </p:nvSpPr>
        <p:spPr>
          <a:xfrm>
            <a:off x="580191" y="696120"/>
            <a:ext cx="2437617" cy="9051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Client Shares SOW</a:t>
            </a:r>
            <a:endParaRPr lang="en-IN" sz="2000" dirty="0"/>
          </a:p>
        </p:txBody>
      </p:sp>
      <p:sp>
        <p:nvSpPr>
          <p:cNvPr id="6" name="Rectangle 5">
            <a:extLst>
              <a:ext uri="{FF2B5EF4-FFF2-40B4-BE49-F238E27FC236}">
                <a16:creationId xmlns:a16="http://schemas.microsoft.com/office/drawing/2014/main" id="{8D9DCDB8-5E28-40F6-97E0-EC84AE0D72D5}"/>
              </a:ext>
            </a:extLst>
          </p:cNvPr>
          <p:cNvSpPr/>
          <p:nvPr/>
        </p:nvSpPr>
        <p:spPr>
          <a:xfrm>
            <a:off x="3439002" y="693043"/>
            <a:ext cx="2628962" cy="9051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Vendor Understands the requirement</a:t>
            </a:r>
            <a:endParaRPr lang="en-IN" sz="2000" dirty="0"/>
          </a:p>
        </p:txBody>
      </p:sp>
      <p:sp>
        <p:nvSpPr>
          <p:cNvPr id="8" name="Rectangle 7">
            <a:extLst>
              <a:ext uri="{FF2B5EF4-FFF2-40B4-BE49-F238E27FC236}">
                <a16:creationId xmlns:a16="http://schemas.microsoft.com/office/drawing/2014/main" id="{72D73B67-3631-43E7-A683-D4F05138B2A6}"/>
              </a:ext>
            </a:extLst>
          </p:cNvPr>
          <p:cNvSpPr/>
          <p:nvPr/>
        </p:nvSpPr>
        <p:spPr>
          <a:xfrm>
            <a:off x="6496377" y="699878"/>
            <a:ext cx="2437617" cy="9051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Prepare Project Plan</a:t>
            </a:r>
            <a:endParaRPr lang="en-IN" sz="2000" dirty="0"/>
          </a:p>
        </p:txBody>
      </p:sp>
      <p:sp>
        <p:nvSpPr>
          <p:cNvPr id="9" name="Rectangle 8">
            <a:extLst>
              <a:ext uri="{FF2B5EF4-FFF2-40B4-BE49-F238E27FC236}">
                <a16:creationId xmlns:a16="http://schemas.microsoft.com/office/drawing/2014/main" id="{B39BFA3A-CCE6-48FE-8924-37BF29EA0AB1}"/>
              </a:ext>
            </a:extLst>
          </p:cNvPr>
          <p:cNvSpPr/>
          <p:nvPr/>
        </p:nvSpPr>
        <p:spPr>
          <a:xfrm>
            <a:off x="9338092" y="698262"/>
            <a:ext cx="2617433" cy="9051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Design</a:t>
            </a:r>
            <a:endParaRPr lang="en-IN" sz="2000" dirty="0"/>
          </a:p>
        </p:txBody>
      </p:sp>
      <p:sp>
        <p:nvSpPr>
          <p:cNvPr id="13" name="TextBox 12">
            <a:extLst>
              <a:ext uri="{FF2B5EF4-FFF2-40B4-BE49-F238E27FC236}">
                <a16:creationId xmlns:a16="http://schemas.microsoft.com/office/drawing/2014/main" id="{0D49340C-FD47-4FBC-9F93-D1B66ED87658}"/>
              </a:ext>
            </a:extLst>
          </p:cNvPr>
          <p:cNvSpPr txBox="1"/>
          <p:nvPr/>
        </p:nvSpPr>
        <p:spPr>
          <a:xfrm>
            <a:off x="698858" y="1768724"/>
            <a:ext cx="2642558" cy="3693319"/>
          </a:xfrm>
          <a:prstGeom prst="rect">
            <a:avLst/>
          </a:prstGeom>
          <a:noFill/>
        </p:spPr>
        <p:txBody>
          <a:bodyPr wrap="square" rtlCol="0">
            <a:spAutoFit/>
          </a:bodyPr>
          <a:lstStyle/>
          <a:p>
            <a:r>
              <a:rPr lang="en-US" dirty="0"/>
              <a:t>Software Overview</a:t>
            </a:r>
          </a:p>
          <a:p>
            <a:r>
              <a:rPr lang="en-US" dirty="0"/>
              <a:t>&amp; expectation</a:t>
            </a:r>
          </a:p>
          <a:p>
            <a:r>
              <a:rPr lang="en-US" dirty="0"/>
              <a:t>Any technology specification</a:t>
            </a:r>
          </a:p>
          <a:p>
            <a:r>
              <a:rPr lang="en-US" dirty="0"/>
              <a:t>Sample Screens</a:t>
            </a:r>
          </a:p>
          <a:p>
            <a:r>
              <a:rPr lang="en-US" dirty="0"/>
              <a:t>Current Process</a:t>
            </a:r>
          </a:p>
          <a:p>
            <a:r>
              <a:rPr lang="en-US" dirty="0"/>
              <a:t>Expected Behavior</a:t>
            </a:r>
          </a:p>
          <a:p>
            <a:r>
              <a:rPr lang="en-US" dirty="0"/>
              <a:t>User Base</a:t>
            </a:r>
          </a:p>
          <a:p>
            <a:r>
              <a:rPr lang="en-US" dirty="0"/>
              <a:t>Expected Launch Period</a:t>
            </a:r>
          </a:p>
          <a:p>
            <a:r>
              <a:rPr lang="en-US" dirty="0"/>
              <a:t>Training Need</a:t>
            </a:r>
          </a:p>
          <a:p>
            <a:r>
              <a:rPr lang="en-US" dirty="0"/>
              <a:t>Maintenance Need</a:t>
            </a:r>
          </a:p>
          <a:p>
            <a:endParaRPr lang="en-US" dirty="0"/>
          </a:p>
          <a:p>
            <a:endParaRPr lang="en-IN" dirty="0"/>
          </a:p>
        </p:txBody>
      </p:sp>
      <p:sp>
        <p:nvSpPr>
          <p:cNvPr id="15" name="TextBox 14">
            <a:extLst>
              <a:ext uri="{FF2B5EF4-FFF2-40B4-BE49-F238E27FC236}">
                <a16:creationId xmlns:a16="http://schemas.microsoft.com/office/drawing/2014/main" id="{2F3F658A-6837-4208-86B7-ED62D0B63099}"/>
              </a:ext>
            </a:extLst>
          </p:cNvPr>
          <p:cNvSpPr txBox="1"/>
          <p:nvPr/>
        </p:nvSpPr>
        <p:spPr>
          <a:xfrm>
            <a:off x="87748" y="1769227"/>
            <a:ext cx="492443" cy="3106662"/>
          </a:xfrm>
          <a:prstGeom prst="rect">
            <a:avLst/>
          </a:prstGeom>
          <a:solidFill>
            <a:schemeClr val="bg2">
              <a:lumMod val="90000"/>
            </a:schemeClr>
          </a:solidFill>
          <a:ln>
            <a:noFill/>
          </a:ln>
        </p:spPr>
        <p:txBody>
          <a:bodyPr vert="vert270" wrap="square" rtlCol="0"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mportant Considerations</a:t>
            </a: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6" name="TextBox 15">
            <a:extLst>
              <a:ext uri="{FF2B5EF4-FFF2-40B4-BE49-F238E27FC236}">
                <a16:creationId xmlns:a16="http://schemas.microsoft.com/office/drawing/2014/main" id="{8B7699C0-BA61-438D-A593-46DB13DB696A}"/>
              </a:ext>
            </a:extLst>
          </p:cNvPr>
          <p:cNvSpPr txBox="1"/>
          <p:nvPr/>
        </p:nvSpPr>
        <p:spPr>
          <a:xfrm>
            <a:off x="3341416" y="1810536"/>
            <a:ext cx="2886414" cy="3139321"/>
          </a:xfrm>
          <a:prstGeom prst="rect">
            <a:avLst/>
          </a:prstGeom>
          <a:noFill/>
        </p:spPr>
        <p:txBody>
          <a:bodyPr wrap="square" rtlCol="0">
            <a:spAutoFit/>
          </a:bodyPr>
          <a:lstStyle/>
          <a:p>
            <a:r>
              <a:rPr lang="en-US" dirty="0"/>
              <a:t>Breakdown the requirement</a:t>
            </a:r>
          </a:p>
          <a:p>
            <a:r>
              <a:rPr lang="en-US" dirty="0" err="1"/>
              <a:t>Analyse</a:t>
            </a:r>
            <a:r>
              <a:rPr lang="en-US" dirty="0"/>
              <a:t> the modules</a:t>
            </a:r>
          </a:p>
          <a:p>
            <a:r>
              <a:rPr lang="en-US" dirty="0"/>
              <a:t>Functional &amp; Technical requirements</a:t>
            </a:r>
          </a:p>
          <a:p>
            <a:r>
              <a:rPr lang="en-US" dirty="0"/>
              <a:t>Understand the workflow</a:t>
            </a:r>
          </a:p>
          <a:p>
            <a:r>
              <a:rPr lang="en-US" dirty="0"/>
              <a:t>User interaction</a:t>
            </a:r>
          </a:p>
          <a:p>
            <a:r>
              <a:rPr lang="en-US" dirty="0"/>
              <a:t>Identify Any APIs or Third-Party Application integration</a:t>
            </a:r>
          </a:p>
          <a:p>
            <a:r>
              <a:rPr lang="en-US" dirty="0"/>
              <a:t>Ask queries to client</a:t>
            </a:r>
          </a:p>
          <a:p>
            <a:endParaRPr lang="en-US" dirty="0"/>
          </a:p>
          <a:p>
            <a:endParaRPr lang="en-IN" dirty="0"/>
          </a:p>
        </p:txBody>
      </p:sp>
      <p:sp>
        <p:nvSpPr>
          <p:cNvPr id="17" name="TextBox 16">
            <a:extLst>
              <a:ext uri="{FF2B5EF4-FFF2-40B4-BE49-F238E27FC236}">
                <a16:creationId xmlns:a16="http://schemas.microsoft.com/office/drawing/2014/main" id="{3ED3C8C2-25D2-4DDA-B37D-FDE5939AF489}"/>
              </a:ext>
            </a:extLst>
          </p:cNvPr>
          <p:cNvSpPr txBox="1"/>
          <p:nvPr/>
        </p:nvSpPr>
        <p:spPr>
          <a:xfrm>
            <a:off x="6331424" y="1853014"/>
            <a:ext cx="2886414" cy="2862322"/>
          </a:xfrm>
          <a:prstGeom prst="rect">
            <a:avLst/>
          </a:prstGeom>
          <a:noFill/>
        </p:spPr>
        <p:txBody>
          <a:bodyPr wrap="square" rtlCol="0">
            <a:spAutoFit/>
          </a:bodyPr>
          <a:lstStyle/>
          <a:p>
            <a:r>
              <a:rPr lang="en-US" dirty="0"/>
              <a:t>Prepare Project Timeline</a:t>
            </a:r>
          </a:p>
          <a:p>
            <a:r>
              <a:rPr lang="en-US" dirty="0"/>
              <a:t>Create Milestones</a:t>
            </a:r>
          </a:p>
          <a:p>
            <a:r>
              <a:rPr lang="en-US" dirty="0"/>
              <a:t>Identify modules &amp; tasks</a:t>
            </a:r>
          </a:p>
          <a:p>
            <a:r>
              <a:rPr lang="en-US" dirty="0"/>
              <a:t>Divide the work among team</a:t>
            </a:r>
          </a:p>
          <a:p>
            <a:r>
              <a:rPr lang="en-US" dirty="0"/>
              <a:t>Project Tracking</a:t>
            </a:r>
          </a:p>
          <a:p>
            <a:r>
              <a:rPr lang="en-US" dirty="0"/>
              <a:t>Project Plan Approval from Client</a:t>
            </a:r>
          </a:p>
          <a:p>
            <a:endParaRPr lang="en-US" dirty="0"/>
          </a:p>
          <a:p>
            <a:endParaRPr lang="en-US" dirty="0"/>
          </a:p>
          <a:p>
            <a:endParaRPr lang="en-IN" dirty="0"/>
          </a:p>
        </p:txBody>
      </p:sp>
      <p:sp>
        <p:nvSpPr>
          <p:cNvPr id="18" name="TextBox 17">
            <a:extLst>
              <a:ext uri="{FF2B5EF4-FFF2-40B4-BE49-F238E27FC236}">
                <a16:creationId xmlns:a16="http://schemas.microsoft.com/office/drawing/2014/main" id="{09012ABE-5354-48EC-8044-538DF2287F80}"/>
              </a:ext>
            </a:extLst>
          </p:cNvPr>
          <p:cNvSpPr txBox="1"/>
          <p:nvPr/>
        </p:nvSpPr>
        <p:spPr>
          <a:xfrm>
            <a:off x="9217838" y="1878744"/>
            <a:ext cx="2886414" cy="2031325"/>
          </a:xfrm>
          <a:prstGeom prst="rect">
            <a:avLst/>
          </a:prstGeom>
          <a:noFill/>
        </p:spPr>
        <p:txBody>
          <a:bodyPr wrap="square" rtlCol="0">
            <a:spAutoFit/>
          </a:bodyPr>
          <a:lstStyle/>
          <a:p>
            <a:r>
              <a:rPr lang="en-US" dirty="0"/>
              <a:t>Create wireframe</a:t>
            </a:r>
          </a:p>
          <a:p>
            <a:r>
              <a:rPr lang="en-US" dirty="0"/>
              <a:t>Create sample screens</a:t>
            </a:r>
          </a:p>
          <a:p>
            <a:r>
              <a:rPr lang="en-US" dirty="0"/>
              <a:t>Create DB designs</a:t>
            </a:r>
          </a:p>
          <a:p>
            <a:endParaRPr lang="en-US" dirty="0"/>
          </a:p>
          <a:p>
            <a:endParaRPr lang="en-US" dirty="0"/>
          </a:p>
          <a:p>
            <a:endParaRPr lang="en-US" dirty="0"/>
          </a:p>
          <a:p>
            <a:endParaRPr lang="en-IN" dirty="0"/>
          </a:p>
        </p:txBody>
      </p:sp>
      <p:sp>
        <p:nvSpPr>
          <p:cNvPr id="19" name="TextBox 18">
            <a:extLst>
              <a:ext uri="{FF2B5EF4-FFF2-40B4-BE49-F238E27FC236}">
                <a16:creationId xmlns:a16="http://schemas.microsoft.com/office/drawing/2014/main" id="{441F1079-8A7C-4370-9739-25DB4631D4EB}"/>
              </a:ext>
            </a:extLst>
          </p:cNvPr>
          <p:cNvSpPr txBox="1"/>
          <p:nvPr/>
        </p:nvSpPr>
        <p:spPr>
          <a:xfrm>
            <a:off x="87748" y="4956123"/>
            <a:ext cx="492443" cy="1846895"/>
          </a:xfrm>
          <a:prstGeom prst="rect">
            <a:avLst/>
          </a:prstGeom>
          <a:solidFill>
            <a:schemeClr val="bg2">
              <a:lumMod val="90000"/>
            </a:schemeClr>
          </a:solidFill>
          <a:ln>
            <a:noFill/>
          </a:ln>
        </p:spPr>
        <p:txBody>
          <a:bodyPr vert="vert270" wrap="square" rtlCol="0" anchor="ctr">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Benefits</a:t>
            </a:r>
            <a:endParaRPr kumimoji="0" lang="en-US" sz="20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 name="TextBox 19">
            <a:extLst>
              <a:ext uri="{FF2B5EF4-FFF2-40B4-BE49-F238E27FC236}">
                <a16:creationId xmlns:a16="http://schemas.microsoft.com/office/drawing/2014/main" id="{ED6B4063-246B-4F76-975E-F9B5E4709DDF}"/>
              </a:ext>
            </a:extLst>
          </p:cNvPr>
          <p:cNvSpPr txBox="1"/>
          <p:nvPr/>
        </p:nvSpPr>
        <p:spPr>
          <a:xfrm>
            <a:off x="679825" y="4914788"/>
            <a:ext cx="2602257" cy="1477328"/>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800" b="0" i="0" u="none" strike="noStrike" kern="1200" cap="none" spc="0" normalizeH="0" baseline="0" noProof="0" dirty="0">
                <a:ln>
                  <a:noFill/>
                </a:ln>
                <a:solidFill>
                  <a:prstClr val="black"/>
                </a:solidFill>
                <a:effectLst/>
                <a:uLnTx/>
                <a:uFillTx/>
                <a:latin typeface="Interstate-Light"/>
                <a:ea typeface="+mn-ea"/>
                <a:cs typeface="+mn-cs"/>
              </a:rPr>
              <a:t>Ensures project schedule does not get impacted due to unavailability of resources or delays due to dependencies</a:t>
            </a:r>
          </a:p>
        </p:txBody>
      </p:sp>
      <p:cxnSp>
        <p:nvCxnSpPr>
          <p:cNvPr id="21" name="Straight Connector 20">
            <a:extLst>
              <a:ext uri="{FF2B5EF4-FFF2-40B4-BE49-F238E27FC236}">
                <a16:creationId xmlns:a16="http://schemas.microsoft.com/office/drawing/2014/main" id="{3FC7C955-005B-4CCB-8FA8-3258C86E8E1A}"/>
              </a:ext>
            </a:extLst>
          </p:cNvPr>
          <p:cNvCxnSpPr>
            <a:cxnSpLocks/>
          </p:cNvCxnSpPr>
          <p:nvPr/>
        </p:nvCxnSpPr>
        <p:spPr>
          <a:xfrm flipV="1">
            <a:off x="0" y="4895338"/>
            <a:ext cx="12192000" cy="1"/>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68938EC8-D6D0-420A-ABE6-315150F06326}"/>
              </a:ext>
            </a:extLst>
          </p:cNvPr>
          <p:cNvSpPr txBox="1"/>
          <p:nvPr/>
        </p:nvSpPr>
        <p:spPr>
          <a:xfrm>
            <a:off x="3197999" y="5234135"/>
            <a:ext cx="8834814" cy="1193019"/>
          </a:xfrm>
          <a:prstGeom prst="rect">
            <a:avLst/>
          </a:prstGeom>
          <a:noFill/>
        </p:spPr>
        <p:txBody>
          <a:bodyPr wrap="square">
            <a:spAutoFit/>
          </a:bodyPr>
          <a:lstStyle/>
          <a:p>
            <a:pPr marL="36830" marR="39370" lvl="0" indent="0" algn="ctr" defTabSz="914400" rtl="0" eaLnBrk="1" fontAlgn="auto" latinLnBrk="0" hangingPunct="1">
              <a:lnSpc>
                <a:spcPct val="130000"/>
              </a:lnSpc>
              <a:spcBef>
                <a:spcPts val="2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trong governance critical for project delivery. </a:t>
            </a:r>
            <a:r>
              <a:rPr lang="en-US" dirty="0">
                <a:solidFill>
                  <a:prstClr val="black"/>
                </a:solidFill>
                <a:latin typeface="Calibri" panose="020F0502020204030204"/>
              </a:rPr>
              <a:t>H</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elps</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 </a:t>
            </a:r>
          </a:p>
          <a:p>
            <a:pPr marL="36830" marR="39370" lvl="0" indent="0" algn="ctr" defTabSz="914400" rtl="0" eaLnBrk="1" fontAlgn="auto" latinLnBrk="0" hangingPunct="1">
              <a:lnSpc>
                <a:spcPct val="130000"/>
              </a:lnSpc>
              <a:spcBef>
                <a:spcPts val="2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keeping track of project schedules, risks and mitigations. </a:t>
            </a:r>
          </a:p>
          <a:p>
            <a:pPr marL="36830" marR="39370" lvl="0" indent="0" algn="ctr" defTabSz="914400" rtl="0" eaLnBrk="1" fontAlgn="auto" latinLnBrk="0" hangingPunct="1">
              <a:lnSpc>
                <a:spcPct val="130000"/>
              </a:lnSpc>
              <a:spcBef>
                <a:spcPts val="2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anaging cross-functional dependencies effectively.</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Times New Roman" panose="02020603050405020304" pitchFamily="18" charset="0"/>
            </a:endParaRPr>
          </a:p>
        </p:txBody>
      </p:sp>
      <p:sp>
        <p:nvSpPr>
          <p:cNvPr id="24" name="Arrow: Right 23">
            <a:extLst>
              <a:ext uri="{FF2B5EF4-FFF2-40B4-BE49-F238E27FC236}">
                <a16:creationId xmlns:a16="http://schemas.microsoft.com/office/drawing/2014/main" id="{77532931-2895-460D-86D7-B1281D854B8D}"/>
              </a:ext>
            </a:extLst>
          </p:cNvPr>
          <p:cNvSpPr/>
          <p:nvPr/>
        </p:nvSpPr>
        <p:spPr>
          <a:xfrm>
            <a:off x="3017808" y="1082566"/>
            <a:ext cx="404098" cy="11945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cxnSp>
        <p:nvCxnSpPr>
          <p:cNvPr id="26" name="Straight Connector 25">
            <a:extLst>
              <a:ext uri="{FF2B5EF4-FFF2-40B4-BE49-F238E27FC236}">
                <a16:creationId xmlns:a16="http://schemas.microsoft.com/office/drawing/2014/main" id="{F83D252C-885C-4032-A927-EB6FEEE02460}"/>
              </a:ext>
            </a:extLst>
          </p:cNvPr>
          <p:cNvCxnSpPr/>
          <p:nvPr/>
        </p:nvCxnSpPr>
        <p:spPr>
          <a:xfrm>
            <a:off x="3197999" y="1721726"/>
            <a:ext cx="0" cy="506049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47AF4DA-B780-4756-882E-2B56D563B6F0}"/>
              </a:ext>
            </a:extLst>
          </p:cNvPr>
          <p:cNvCxnSpPr>
            <a:cxnSpLocks/>
          </p:cNvCxnSpPr>
          <p:nvPr/>
        </p:nvCxnSpPr>
        <p:spPr>
          <a:xfrm>
            <a:off x="6227830" y="1721726"/>
            <a:ext cx="0" cy="315416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CC80009-51CA-4769-A2D3-E36DEE25652E}"/>
              </a:ext>
            </a:extLst>
          </p:cNvPr>
          <p:cNvCxnSpPr>
            <a:cxnSpLocks/>
          </p:cNvCxnSpPr>
          <p:nvPr/>
        </p:nvCxnSpPr>
        <p:spPr>
          <a:xfrm>
            <a:off x="9123430" y="1741175"/>
            <a:ext cx="0" cy="315416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1B46716-5783-43A7-9648-84FA908EE83B}"/>
              </a:ext>
            </a:extLst>
          </p:cNvPr>
          <p:cNvCxnSpPr>
            <a:cxnSpLocks/>
          </p:cNvCxnSpPr>
          <p:nvPr/>
        </p:nvCxnSpPr>
        <p:spPr>
          <a:xfrm>
            <a:off x="3197999" y="6775140"/>
            <a:ext cx="8994001" cy="1326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1240ED1-B9D8-4E94-AA3C-80276F54ABE2}"/>
              </a:ext>
            </a:extLst>
          </p:cNvPr>
          <p:cNvCxnSpPr>
            <a:cxnSpLocks/>
          </p:cNvCxnSpPr>
          <p:nvPr/>
        </p:nvCxnSpPr>
        <p:spPr>
          <a:xfrm flipV="1">
            <a:off x="0" y="1685255"/>
            <a:ext cx="12192000" cy="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94E8CFF-21C7-4FB1-82FD-CBC2B5D5349E}"/>
              </a:ext>
            </a:extLst>
          </p:cNvPr>
          <p:cNvCxnSpPr/>
          <p:nvPr/>
        </p:nvCxnSpPr>
        <p:spPr>
          <a:xfrm>
            <a:off x="0" y="6770280"/>
            <a:ext cx="321985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6" name="Arrow: Right 35">
            <a:extLst>
              <a:ext uri="{FF2B5EF4-FFF2-40B4-BE49-F238E27FC236}">
                <a16:creationId xmlns:a16="http://schemas.microsoft.com/office/drawing/2014/main" id="{0DD3D63D-52C8-4886-B94C-6DB91187EF51}"/>
              </a:ext>
            </a:extLst>
          </p:cNvPr>
          <p:cNvSpPr/>
          <p:nvPr/>
        </p:nvSpPr>
        <p:spPr>
          <a:xfrm>
            <a:off x="6092279" y="1073171"/>
            <a:ext cx="404098" cy="11945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sp>
        <p:nvSpPr>
          <p:cNvPr id="37" name="Arrow: Right 36">
            <a:extLst>
              <a:ext uri="{FF2B5EF4-FFF2-40B4-BE49-F238E27FC236}">
                <a16:creationId xmlns:a16="http://schemas.microsoft.com/office/drawing/2014/main" id="{73BA6182-0CEC-4353-ACF2-E2C67FDA243E}"/>
              </a:ext>
            </a:extLst>
          </p:cNvPr>
          <p:cNvSpPr/>
          <p:nvPr/>
        </p:nvSpPr>
        <p:spPr>
          <a:xfrm>
            <a:off x="8958309" y="1086374"/>
            <a:ext cx="404098" cy="11945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15517205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6CA8C01D-133D-411C-9D8C-CAEDC5AE75C3}"/>
              </a:ext>
            </a:extLst>
          </p:cNvPr>
          <p:cNvCxnSpPr>
            <a:cxnSpLocks/>
          </p:cNvCxnSpPr>
          <p:nvPr/>
        </p:nvCxnSpPr>
        <p:spPr>
          <a:xfrm flipV="1">
            <a:off x="0" y="452582"/>
            <a:ext cx="12192000" cy="1"/>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40B71E1-3ECD-4EC2-9B8A-C95881D39E86}"/>
              </a:ext>
            </a:extLst>
          </p:cNvPr>
          <p:cNvSpPr/>
          <p:nvPr/>
        </p:nvSpPr>
        <p:spPr>
          <a:xfrm>
            <a:off x="360219" y="725054"/>
            <a:ext cx="2552747" cy="9051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Development</a:t>
            </a:r>
            <a:endParaRPr lang="en-IN" sz="2000" dirty="0"/>
          </a:p>
        </p:txBody>
      </p:sp>
      <p:sp>
        <p:nvSpPr>
          <p:cNvPr id="6" name="Rectangle 5">
            <a:extLst>
              <a:ext uri="{FF2B5EF4-FFF2-40B4-BE49-F238E27FC236}">
                <a16:creationId xmlns:a16="http://schemas.microsoft.com/office/drawing/2014/main" id="{8D9DCDB8-5E28-40F6-97E0-EC84AE0D72D5}"/>
              </a:ext>
            </a:extLst>
          </p:cNvPr>
          <p:cNvSpPr/>
          <p:nvPr/>
        </p:nvSpPr>
        <p:spPr>
          <a:xfrm>
            <a:off x="3187018" y="729561"/>
            <a:ext cx="2628962" cy="9051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Testing</a:t>
            </a:r>
            <a:endParaRPr lang="en-IN" sz="2000" dirty="0"/>
          </a:p>
        </p:txBody>
      </p:sp>
      <p:sp>
        <p:nvSpPr>
          <p:cNvPr id="8" name="Rectangle 7">
            <a:extLst>
              <a:ext uri="{FF2B5EF4-FFF2-40B4-BE49-F238E27FC236}">
                <a16:creationId xmlns:a16="http://schemas.microsoft.com/office/drawing/2014/main" id="{72D73B67-3631-43E7-A683-D4F05138B2A6}"/>
              </a:ext>
            </a:extLst>
          </p:cNvPr>
          <p:cNvSpPr/>
          <p:nvPr/>
        </p:nvSpPr>
        <p:spPr>
          <a:xfrm>
            <a:off x="6159097" y="722866"/>
            <a:ext cx="2437617" cy="9051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Software</a:t>
            </a:r>
            <a:r>
              <a:rPr lang="en-US" dirty="0"/>
              <a:t> Release</a:t>
            </a:r>
            <a:endParaRPr lang="en-IN" dirty="0"/>
          </a:p>
        </p:txBody>
      </p:sp>
      <p:sp>
        <p:nvSpPr>
          <p:cNvPr id="9" name="Rectangle 8">
            <a:extLst>
              <a:ext uri="{FF2B5EF4-FFF2-40B4-BE49-F238E27FC236}">
                <a16:creationId xmlns:a16="http://schemas.microsoft.com/office/drawing/2014/main" id="{B39BFA3A-CCE6-48FE-8924-37BF29EA0AB1}"/>
              </a:ext>
            </a:extLst>
          </p:cNvPr>
          <p:cNvSpPr/>
          <p:nvPr/>
        </p:nvSpPr>
        <p:spPr>
          <a:xfrm>
            <a:off x="8939832" y="729561"/>
            <a:ext cx="2617433" cy="9051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Support</a:t>
            </a:r>
            <a:r>
              <a:rPr lang="en-US" dirty="0"/>
              <a:t> &amp; Maintenance</a:t>
            </a:r>
            <a:endParaRPr lang="en-IN" dirty="0"/>
          </a:p>
        </p:txBody>
      </p:sp>
      <p:sp>
        <p:nvSpPr>
          <p:cNvPr id="13" name="TextBox 12">
            <a:extLst>
              <a:ext uri="{FF2B5EF4-FFF2-40B4-BE49-F238E27FC236}">
                <a16:creationId xmlns:a16="http://schemas.microsoft.com/office/drawing/2014/main" id="{0D49340C-FD47-4FBC-9F93-D1B66ED87658}"/>
              </a:ext>
            </a:extLst>
          </p:cNvPr>
          <p:cNvSpPr txBox="1"/>
          <p:nvPr/>
        </p:nvSpPr>
        <p:spPr>
          <a:xfrm>
            <a:off x="503377" y="1908235"/>
            <a:ext cx="2409589" cy="3416320"/>
          </a:xfrm>
          <a:prstGeom prst="rect">
            <a:avLst/>
          </a:prstGeom>
          <a:noFill/>
        </p:spPr>
        <p:txBody>
          <a:bodyPr wrap="square" rtlCol="0">
            <a:spAutoFit/>
          </a:bodyPr>
          <a:lstStyle/>
          <a:p>
            <a:r>
              <a:rPr lang="en-US" dirty="0"/>
              <a:t>Module wise or parallel development among team members</a:t>
            </a:r>
          </a:p>
          <a:p>
            <a:r>
              <a:rPr lang="en-US" dirty="0"/>
              <a:t>Divide DB, UI and Programming</a:t>
            </a:r>
          </a:p>
          <a:p>
            <a:r>
              <a:rPr lang="en-US" dirty="0"/>
              <a:t>Version Control</a:t>
            </a:r>
          </a:p>
          <a:p>
            <a:r>
              <a:rPr lang="en-US" dirty="0"/>
              <a:t>Create User Manuals</a:t>
            </a:r>
          </a:p>
          <a:p>
            <a:r>
              <a:rPr lang="en-US" dirty="0"/>
              <a:t>Create </a:t>
            </a:r>
          </a:p>
          <a:p>
            <a:r>
              <a:rPr lang="en-US" dirty="0"/>
              <a:t>Tracking Development</a:t>
            </a:r>
          </a:p>
          <a:p>
            <a:endParaRPr lang="en-US" dirty="0"/>
          </a:p>
          <a:p>
            <a:endParaRPr lang="en-US" dirty="0"/>
          </a:p>
          <a:p>
            <a:endParaRPr lang="en-IN" dirty="0"/>
          </a:p>
        </p:txBody>
      </p:sp>
      <p:sp>
        <p:nvSpPr>
          <p:cNvPr id="15" name="TextBox 14">
            <a:extLst>
              <a:ext uri="{FF2B5EF4-FFF2-40B4-BE49-F238E27FC236}">
                <a16:creationId xmlns:a16="http://schemas.microsoft.com/office/drawing/2014/main" id="{2F3F658A-6837-4208-86B7-ED62D0B63099}"/>
              </a:ext>
            </a:extLst>
          </p:cNvPr>
          <p:cNvSpPr txBox="1"/>
          <p:nvPr/>
        </p:nvSpPr>
        <p:spPr>
          <a:xfrm>
            <a:off x="49341" y="1908235"/>
            <a:ext cx="492442" cy="2775727"/>
          </a:xfrm>
          <a:prstGeom prst="rect">
            <a:avLst/>
          </a:prstGeom>
          <a:solidFill>
            <a:schemeClr val="bg2">
              <a:lumMod val="90000"/>
            </a:schemeClr>
          </a:solidFill>
          <a:ln>
            <a:noFill/>
          </a:ln>
        </p:spPr>
        <p:txBody>
          <a:bodyPr vert="vert270" wrap="square" rtlCol="0"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mportant Considerations</a:t>
            </a: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6" name="TextBox 15">
            <a:extLst>
              <a:ext uri="{FF2B5EF4-FFF2-40B4-BE49-F238E27FC236}">
                <a16:creationId xmlns:a16="http://schemas.microsoft.com/office/drawing/2014/main" id="{8B7699C0-BA61-438D-A593-46DB13DB696A}"/>
              </a:ext>
            </a:extLst>
          </p:cNvPr>
          <p:cNvSpPr txBox="1"/>
          <p:nvPr/>
        </p:nvSpPr>
        <p:spPr>
          <a:xfrm>
            <a:off x="2937646" y="1752501"/>
            <a:ext cx="2886414" cy="646331"/>
          </a:xfrm>
          <a:prstGeom prst="rect">
            <a:avLst/>
          </a:prstGeom>
          <a:noFill/>
        </p:spPr>
        <p:txBody>
          <a:bodyPr wrap="square" rtlCol="0">
            <a:spAutoFit/>
          </a:bodyPr>
          <a:lstStyle/>
          <a:p>
            <a:endParaRPr lang="en-US" dirty="0"/>
          </a:p>
          <a:p>
            <a:endParaRPr lang="en-IN" dirty="0"/>
          </a:p>
        </p:txBody>
      </p:sp>
      <p:sp>
        <p:nvSpPr>
          <p:cNvPr id="17" name="TextBox 16">
            <a:extLst>
              <a:ext uri="{FF2B5EF4-FFF2-40B4-BE49-F238E27FC236}">
                <a16:creationId xmlns:a16="http://schemas.microsoft.com/office/drawing/2014/main" id="{3ED3C8C2-25D2-4DDA-B37D-FDE5939AF489}"/>
              </a:ext>
            </a:extLst>
          </p:cNvPr>
          <p:cNvSpPr txBox="1"/>
          <p:nvPr/>
        </p:nvSpPr>
        <p:spPr>
          <a:xfrm>
            <a:off x="542951" y="4683561"/>
            <a:ext cx="2552747" cy="1200329"/>
          </a:xfrm>
          <a:prstGeom prst="rect">
            <a:avLst/>
          </a:prstGeom>
          <a:noFill/>
        </p:spPr>
        <p:txBody>
          <a:bodyPr wrap="square" rtlCol="0">
            <a:spAutoFit/>
          </a:bodyPr>
          <a:lstStyle/>
          <a:p>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efined scope would help in managing delivery plan as per schedule. </a:t>
            </a:r>
            <a:endParaRPr lang="en-IN" dirty="0"/>
          </a:p>
        </p:txBody>
      </p:sp>
      <p:sp>
        <p:nvSpPr>
          <p:cNvPr id="18" name="TextBox 17">
            <a:extLst>
              <a:ext uri="{FF2B5EF4-FFF2-40B4-BE49-F238E27FC236}">
                <a16:creationId xmlns:a16="http://schemas.microsoft.com/office/drawing/2014/main" id="{09012ABE-5354-48EC-8044-538DF2287F80}"/>
              </a:ext>
            </a:extLst>
          </p:cNvPr>
          <p:cNvSpPr txBox="1"/>
          <p:nvPr/>
        </p:nvSpPr>
        <p:spPr>
          <a:xfrm>
            <a:off x="8885311" y="1898314"/>
            <a:ext cx="2886414" cy="2031325"/>
          </a:xfrm>
          <a:prstGeom prst="rect">
            <a:avLst/>
          </a:prstGeom>
          <a:noFill/>
        </p:spPr>
        <p:txBody>
          <a:bodyPr wrap="square" rtlCol="0">
            <a:spAutoFit/>
          </a:bodyPr>
          <a:lstStyle/>
          <a:p>
            <a:r>
              <a:rPr lang="en-US" dirty="0"/>
              <a:t>Support on bugs, UI, minor changes </a:t>
            </a:r>
          </a:p>
          <a:p>
            <a:r>
              <a:rPr lang="en-US" dirty="0"/>
              <a:t>Change Request for new features.</a:t>
            </a:r>
          </a:p>
          <a:p>
            <a:endParaRPr lang="en-US" dirty="0"/>
          </a:p>
          <a:p>
            <a:endParaRPr lang="en-US" dirty="0"/>
          </a:p>
          <a:p>
            <a:endParaRPr lang="en-IN" dirty="0"/>
          </a:p>
        </p:txBody>
      </p:sp>
      <p:sp>
        <p:nvSpPr>
          <p:cNvPr id="12" name="TextBox 11">
            <a:extLst>
              <a:ext uri="{FF2B5EF4-FFF2-40B4-BE49-F238E27FC236}">
                <a16:creationId xmlns:a16="http://schemas.microsoft.com/office/drawing/2014/main" id="{0558E20E-0D87-469C-847A-0674FE71D2F2}"/>
              </a:ext>
            </a:extLst>
          </p:cNvPr>
          <p:cNvSpPr txBox="1"/>
          <p:nvPr/>
        </p:nvSpPr>
        <p:spPr>
          <a:xfrm>
            <a:off x="3137242" y="1900343"/>
            <a:ext cx="2409589" cy="2862322"/>
          </a:xfrm>
          <a:prstGeom prst="rect">
            <a:avLst/>
          </a:prstGeom>
          <a:noFill/>
        </p:spPr>
        <p:txBody>
          <a:bodyPr wrap="square" rtlCol="0">
            <a:spAutoFit/>
          </a:bodyPr>
          <a:lstStyle/>
          <a:p>
            <a:r>
              <a:rPr lang="en-US" dirty="0"/>
              <a:t>Create Test Plans</a:t>
            </a:r>
          </a:p>
          <a:p>
            <a:r>
              <a:rPr lang="en-US" dirty="0"/>
              <a:t>Code Review</a:t>
            </a:r>
          </a:p>
          <a:p>
            <a:r>
              <a:rPr lang="en-US" dirty="0"/>
              <a:t>Unit Testing</a:t>
            </a:r>
          </a:p>
          <a:p>
            <a:r>
              <a:rPr lang="en-US" dirty="0"/>
              <a:t>End User Testing </a:t>
            </a:r>
          </a:p>
          <a:p>
            <a:r>
              <a:rPr lang="en-US" dirty="0"/>
              <a:t>Record Test Results </a:t>
            </a:r>
          </a:p>
          <a:p>
            <a:r>
              <a:rPr lang="en-US" dirty="0"/>
              <a:t>Fix Bugs and Issues</a:t>
            </a:r>
          </a:p>
          <a:p>
            <a:r>
              <a:rPr lang="en-US" dirty="0"/>
              <a:t>Demo &amp; Sign off from Client </a:t>
            </a:r>
          </a:p>
          <a:p>
            <a:endParaRPr lang="en-US" dirty="0"/>
          </a:p>
          <a:p>
            <a:endParaRPr lang="en-IN" dirty="0"/>
          </a:p>
        </p:txBody>
      </p:sp>
      <p:sp>
        <p:nvSpPr>
          <p:cNvPr id="19" name="TextBox 18">
            <a:extLst>
              <a:ext uri="{FF2B5EF4-FFF2-40B4-BE49-F238E27FC236}">
                <a16:creationId xmlns:a16="http://schemas.microsoft.com/office/drawing/2014/main" id="{D9BBB17C-A388-4CC4-A234-291057788838}"/>
              </a:ext>
            </a:extLst>
          </p:cNvPr>
          <p:cNvSpPr txBox="1"/>
          <p:nvPr/>
        </p:nvSpPr>
        <p:spPr>
          <a:xfrm>
            <a:off x="49341" y="4762665"/>
            <a:ext cx="492443" cy="2011761"/>
          </a:xfrm>
          <a:prstGeom prst="rect">
            <a:avLst/>
          </a:prstGeom>
          <a:solidFill>
            <a:schemeClr val="bg2">
              <a:lumMod val="90000"/>
            </a:schemeClr>
          </a:solidFill>
          <a:ln>
            <a:noFill/>
          </a:ln>
        </p:spPr>
        <p:txBody>
          <a:bodyPr vert="vert270" wrap="square" rtlCol="0" anchor="ctr">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Benefits</a:t>
            </a:r>
            <a:endParaRPr kumimoji="0" lang="en-US" sz="20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 name="TextBox 19">
            <a:extLst>
              <a:ext uri="{FF2B5EF4-FFF2-40B4-BE49-F238E27FC236}">
                <a16:creationId xmlns:a16="http://schemas.microsoft.com/office/drawing/2014/main" id="{20156DF1-D18B-4696-9A23-5905DB51EE5C}"/>
              </a:ext>
            </a:extLst>
          </p:cNvPr>
          <p:cNvSpPr txBox="1"/>
          <p:nvPr/>
        </p:nvSpPr>
        <p:spPr>
          <a:xfrm>
            <a:off x="3075201" y="4646827"/>
            <a:ext cx="3014830" cy="2243435"/>
          </a:xfrm>
          <a:prstGeom prst="rect">
            <a:avLst/>
          </a:prstGeom>
          <a:noFill/>
        </p:spPr>
        <p:txBody>
          <a:bodyPr wrap="square">
            <a:spAutoFit/>
          </a:bodyPr>
          <a:lstStyle/>
          <a:p>
            <a:pPr marR="215900" lvl="0" indent="0" fontAlgn="auto">
              <a:lnSpc>
                <a:spcPct val="128000"/>
              </a:lnSpc>
              <a:spcBef>
                <a:spcPts val="210"/>
              </a:spcBef>
              <a:spcAft>
                <a:spcPts val="0"/>
              </a:spcAft>
              <a:buClrTx/>
              <a:buSzTx/>
              <a:buFontTx/>
              <a:buNone/>
              <a:tabLst/>
              <a:defRPr/>
            </a:pPr>
            <a:r>
              <a:rPr lang="en-US" dirty="0">
                <a:solidFill>
                  <a:prstClr val="black"/>
                </a:solidFill>
                <a:latin typeface="Calibri" panose="020F0502020204030204"/>
              </a:rPr>
              <a:t>Users understanding of </a:t>
            </a:r>
          </a:p>
          <a:p>
            <a:pPr marR="215900" lvl="0" indent="0" fontAlgn="auto">
              <a:lnSpc>
                <a:spcPct val="128000"/>
              </a:lnSpc>
              <a:spcBef>
                <a:spcPts val="210"/>
              </a:spcBef>
              <a:spcAft>
                <a:spcPts val="0"/>
              </a:spcAft>
              <a:buClrTx/>
              <a:buSzTx/>
              <a:buFontTx/>
              <a:buNone/>
              <a:tabLst/>
              <a:defRPr/>
            </a:pPr>
            <a:r>
              <a:rPr lang="en-US" dirty="0">
                <a:solidFill>
                  <a:prstClr val="black"/>
                </a:solidFill>
                <a:latin typeface="Calibri" panose="020F0502020204030204"/>
              </a:rPr>
              <a:t>expected outcomes will help in smooth transition eliminating other non-implementation issues</a:t>
            </a:r>
          </a:p>
          <a:p>
            <a:pPr marR="215900" lvl="0" indent="0" fontAlgn="auto">
              <a:lnSpc>
                <a:spcPct val="128000"/>
              </a:lnSpc>
              <a:spcBef>
                <a:spcPts val="210"/>
              </a:spcBef>
              <a:spcAft>
                <a:spcPts val="0"/>
              </a:spcAft>
              <a:buClrTx/>
              <a:buSzTx/>
              <a:buFontTx/>
              <a:buNone/>
              <a:tabLst/>
              <a:defRPr/>
            </a:pPr>
            <a:r>
              <a:rPr lang="en-US" dirty="0">
                <a:solidFill>
                  <a:prstClr val="black"/>
                </a:solidFill>
                <a:latin typeface="Calibri" panose="020F0502020204030204"/>
              </a:rPr>
              <a:t>which may get reported</a:t>
            </a:r>
          </a:p>
        </p:txBody>
      </p:sp>
      <p:cxnSp>
        <p:nvCxnSpPr>
          <p:cNvPr id="21" name="Straight Connector 20">
            <a:extLst>
              <a:ext uri="{FF2B5EF4-FFF2-40B4-BE49-F238E27FC236}">
                <a16:creationId xmlns:a16="http://schemas.microsoft.com/office/drawing/2014/main" id="{22BF11FB-5054-43FE-A180-199EA915CED8}"/>
              </a:ext>
            </a:extLst>
          </p:cNvPr>
          <p:cNvCxnSpPr>
            <a:cxnSpLocks/>
          </p:cNvCxnSpPr>
          <p:nvPr/>
        </p:nvCxnSpPr>
        <p:spPr>
          <a:xfrm flipV="1">
            <a:off x="0" y="4707163"/>
            <a:ext cx="12192000" cy="1"/>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DE8401A3-DCB5-4B6F-B6F9-78F27E0C24D5}"/>
              </a:ext>
            </a:extLst>
          </p:cNvPr>
          <p:cNvSpPr txBox="1"/>
          <p:nvPr/>
        </p:nvSpPr>
        <p:spPr>
          <a:xfrm>
            <a:off x="6090032" y="4640109"/>
            <a:ext cx="3014830" cy="2217787"/>
          </a:xfrm>
          <a:prstGeom prst="rect">
            <a:avLst/>
          </a:prstGeom>
          <a:noFill/>
        </p:spPr>
        <p:txBody>
          <a:bodyPr wrap="square">
            <a:spAutoFit/>
          </a:bodyPr>
          <a:lstStyle/>
          <a:p>
            <a:pPr marR="215900">
              <a:lnSpc>
                <a:spcPct val="128000"/>
              </a:lnSpc>
              <a:spcBef>
                <a:spcPts val="210"/>
              </a:spcBef>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Effective change management will help in right adoption and acceptance of new system by users</a:t>
            </a:r>
          </a:p>
          <a:p>
            <a:pPr marR="215900" lvl="0" indent="0" fontAlgn="auto">
              <a:lnSpc>
                <a:spcPct val="128000"/>
              </a:lnSpc>
              <a:spcBef>
                <a:spcPts val="210"/>
              </a:spcBef>
              <a:spcAft>
                <a:spcPts val="0"/>
              </a:spcAft>
              <a:buClrTx/>
              <a:buSzTx/>
              <a:buFontTx/>
              <a:buNone/>
              <a:tabLst/>
              <a:defRPr/>
            </a:pPr>
            <a:endParaRPr lang="en-US" dirty="0">
              <a:solidFill>
                <a:prstClr val="black"/>
              </a:solidFill>
              <a:latin typeface="Calibri" panose="020F0502020204030204"/>
            </a:endParaRPr>
          </a:p>
        </p:txBody>
      </p:sp>
      <p:sp>
        <p:nvSpPr>
          <p:cNvPr id="23" name="TextBox 22">
            <a:extLst>
              <a:ext uri="{FF2B5EF4-FFF2-40B4-BE49-F238E27FC236}">
                <a16:creationId xmlns:a16="http://schemas.microsoft.com/office/drawing/2014/main" id="{26E56310-37C6-40AC-8EBD-DE693C9107EA}"/>
              </a:ext>
            </a:extLst>
          </p:cNvPr>
          <p:cNvSpPr txBox="1"/>
          <p:nvPr/>
        </p:nvSpPr>
        <p:spPr>
          <a:xfrm>
            <a:off x="6096000" y="1802563"/>
            <a:ext cx="3014830" cy="1559914"/>
          </a:xfrm>
          <a:prstGeom prst="rect">
            <a:avLst/>
          </a:prstGeom>
          <a:noFill/>
        </p:spPr>
        <p:txBody>
          <a:bodyPr wrap="square">
            <a:spAutoFit/>
          </a:bodyPr>
          <a:lstStyle/>
          <a:p>
            <a:pPr marR="215900" lvl="0" indent="0" fontAlgn="auto">
              <a:lnSpc>
                <a:spcPct val="128000"/>
              </a:lnSpc>
              <a:spcBef>
                <a:spcPts val="210"/>
              </a:spcBef>
              <a:spcAft>
                <a:spcPts val="0"/>
              </a:spcAft>
              <a:buClrTx/>
              <a:buSzTx/>
              <a:buFontTx/>
              <a:buNone/>
              <a:tabLst/>
              <a:defRPr/>
            </a:pPr>
            <a:r>
              <a:rPr lang="en-US" dirty="0">
                <a:solidFill>
                  <a:prstClr val="black"/>
                </a:solidFill>
                <a:latin typeface="Calibri" panose="020F0502020204030204"/>
              </a:rPr>
              <a:t>Software Release V1</a:t>
            </a:r>
          </a:p>
          <a:p>
            <a:pPr marR="215900" lvl="0" indent="0" fontAlgn="auto">
              <a:lnSpc>
                <a:spcPct val="128000"/>
              </a:lnSpc>
              <a:spcBef>
                <a:spcPts val="210"/>
              </a:spcBef>
              <a:spcAft>
                <a:spcPts val="0"/>
              </a:spcAft>
              <a:buClrTx/>
              <a:buSzTx/>
              <a:buFontTx/>
              <a:buNone/>
              <a:tabLst/>
              <a:defRPr/>
            </a:pPr>
            <a:r>
              <a:rPr lang="en-US" dirty="0">
                <a:solidFill>
                  <a:prstClr val="black"/>
                </a:solidFill>
                <a:latin typeface="Calibri" panose="020F0502020204030204"/>
              </a:rPr>
              <a:t>Sign off from Client</a:t>
            </a:r>
          </a:p>
          <a:p>
            <a:pPr marR="215900" lvl="0" indent="0" fontAlgn="auto">
              <a:lnSpc>
                <a:spcPct val="128000"/>
              </a:lnSpc>
              <a:spcBef>
                <a:spcPts val="210"/>
              </a:spcBef>
              <a:spcAft>
                <a:spcPts val="0"/>
              </a:spcAft>
              <a:buClrTx/>
              <a:buSzTx/>
              <a:buFontTx/>
              <a:buNone/>
              <a:tabLst/>
              <a:defRPr/>
            </a:pPr>
            <a:r>
              <a:rPr lang="en-US" dirty="0">
                <a:solidFill>
                  <a:prstClr val="black"/>
                </a:solidFill>
                <a:latin typeface="Calibri" panose="020F0502020204030204"/>
              </a:rPr>
              <a:t>Change Management-</a:t>
            </a:r>
          </a:p>
          <a:p>
            <a:pPr marR="215900" lvl="0" indent="0" fontAlgn="auto">
              <a:lnSpc>
                <a:spcPct val="128000"/>
              </a:lnSpc>
              <a:spcBef>
                <a:spcPts val="210"/>
              </a:spcBef>
              <a:spcAft>
                <a:spcPts val="0"/>
              </a:spcAft>
              <a:buClrTx/>
              <a:buSzTx/>
              <a:buFontTx/>
              <a:buNone/>
              <a:tabLst/>
              <a:defRPr/>
            </a:pPr>
            <a:r>
              <a:rPr lang="en-US" dirty="0">
                <a:solidFill>
                  <a:prstClr val="black"/>
                </a:solidFill>
                <a:latin typeface="Calibri" panose="020F0502020204030204"/>
              </a:rPr>
              <a:t>User Adoption</a:t>
            </a:r>
          </a:p>
        </p:txBody>
      </p:sp>
      <p:sp>
        <p:nvSpPr>
          <p:cNvPr id="24" name="TextBox 23">
            <a:extLst>
              <a:ext uri="{FF2B5EF4-FFF2-40B4-BE49-F238E27FC236}">
                <a16:creationId xmlns:a16="http://schemas.microsoft.com/office/drawing/2014/main" id="{4500CB1B-2D5A-42B4-9F49-70AE3939D87C}"/>
              </a:ext>
            </a:extLst>
          </p:cNvPr>
          <p:cNvSpPr txBox="1"/>
          <p:nvPr/>
        </p:nvSpPr>
        <p:spPr>
          <a:xfrm>
            <a:off x="8922222" y="4655979"/>
            <a:ext cx="3014830" cy="1508618"/>
          </a:xfrm>
          <a:prstGeom prst="rect">
            <a:avLst/>
          </a:prstGeom>
          <a:noFill/>
        </p:spPr>
        <p:txBody>
          <a:bodyPr wrap="square">
            <a:spAutoFit/>
          </a:bodyPr>
          <a:lstStyle/>
          <a:p>
            <a:pPr marR="215900" lvl="0" indent="0" fontAlgn="auto">
              <a:lnSpc>
                <a:spcPct val="128000"/>
              </a:lnSpc>
              <a:spcBef>
                <a:spcPts val="210"/>
              </a:spcBef>
              <a:spcAft>
                <a:spcPts val="0"/>
              </a:spcAft>
              <a:buClrTx/>
              <a:buSzTx/>
              <a:buFontTx/>
              <a:buNone/>
              <a:tabLst/>
              <a:defRPr/>
            </a:pPr>
            <a:r>
              <a:rPr lang="en-US" dirty="0">
                <a:solidFill>
                  <a:prstClr val="black"/>
                </a:solidFill>
                <a:latin typeface="Calibri" panose="020F0502020204030204"/>
              </a:rPr>
              <a:t>Regular Support &amp; Maintenance will ensure</a:t>
            </a:r>
          </a:p>
          <a:p>
            <a:pPr marR="215900" lvl="0" indent="0" fontAlgn="auto">
              <a:lnSpc>
                <a:spcPct val="128000"/>
              </a:lnSpc>
              <a:spcBef>
                <a:spcPts val="210"/>
              </a:spcBef>
              <a:spcAft>
                <a:spcPts val="0"/>
              </a:spcAft>
              <a:buClrTx/>
              <a:buSzTx/>
              <a:buFontTx/>
              <a:buNone/>
              <a:tabLst/>
              <a:defRPr/>
            </a:pPr>
            <a:r>
              <a:rPr lang="en-US" dirty="0">
                <a:solidFill>
                  <a:prstClr val="black"/>
                </a:solidFill>
                <a:latin typeface="Calibri" panose="020F0502020204030204"/>
              </a:rPr>
              <a:t>Smooth functioning of the software </a:t>
            </a:r>
          </a:p>
        </p:txBody>
      </p:sp>
      <p:sp>
        <p:nvSpPr>
          <p:cNvPr id="25" name="Arrow: Right 24">
            <a:extLst>
              <a:ext uri="{FF2B5EF4-FFF2-40B4-BE49-F238E27FC236}">
                <a16:creationId xmlns:a16="http://schemas.microsoft.com/office/drawing/2014/main" id="{87BF5722-8C94-4E4B-B766-53E0AB918AB4}"/>
              </a:ext>
            </a:extLst>
          </p:cNvPr>
          <p:cNvSpPr/>
          <p:nvPr/>
        </p:nvSpPr>
        <p:spPr>
          <a:xfrm>
            <a:off x="2851985" y="1103572"/>
            <a:ext cx="404098" cy="119449"/>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sp>
        <p:nvSpPr>
          <p:cNvPr id="26" name="Arrow: Right 25">
            <a:extLst>
              <a:ext uri="{FF2B5EF4-FFF2-40B4-BE49-F238E27FC236}">
                <a16:creationId xmlns:a16="http://schemas.microsoft.com/office/drawing/2014/main" id="{51D53A83-7A77-4C89-AE97-FCE121E3E61E}"/>
              </a:ext>
            </a:extLst>
          </p:cNvPr>
          <p:cNvSpPr/>
          <p:nvPr/>
        </p:nvSpPr>
        <p:spPr>
          <a:xfrm>
            <a:off x="5824060" y="1103571"/>
            <a:ext cx="404098" cy="11945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sp>
        <p:nvSpPr>
          <p:cNvPr id="27" name="Arrow: Right 26">
            <a:extLst>
              <a:ext uri="{FF2B5EF4-FFF2-40B4-BE49-F238E27FC236}">
                <a16:creationId xmlns:a16="http://schemas.microsoft.com/office/drawing/2014/main" id="{5E3D37AC-9232-4A19-AD0D-A521A4BFB67A}"/>
              </a:ext>
            </a:extLst>
          </p:cNvPr>
          <p:cNvSpPr/>
          <p:nvPr/>
        </p:nvSpPr>
        <p:spPr>
          <a:xfrm>
            <a:off x="8596714" y="1114066"/>
            <a:ext cx="404098" cy="11945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cxnSp>
        <p:nvCxnSpPr>
          <p:cNvPr id="28" name="Straight Connector 27">
            <a:extLst>
              <a:ext uri="{FF2B5EF4-FFF2-40B4-BE49-F238E27FC236}">
                <a16:creationId xmlns:a16="http://schemas.microsoft.com/office/drawing/2014/main" id="{A5DA28C4-4957-4AE6-B02F-FF72CFDD1579}"/>
              </a:ext>
            </a:extLst>
          </p:cNvPr>
          <p:cNvCxnSpPr>
            <a:cxnSpLocks/>
          </p:cNvCxnSpPr>
          <p:nvPr/>
        </p:nvCxnSpPr>
        <p:spPr>
          <a:xfrm flipV="1">
            <a:off x="0" y="1728154"/>
            <a:ext cx="12192000" cy="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6CDAC8C-CBD6-40B3-9DEB-35DE1E49D991}"/>
              </a:ext>
            </a:extLst>
          </p:cNvPr>
          <p:cNvCxnSpPr/>
          <p:nvPr/>
        </p:nvCxnSpPr>
        <p:spPr>
          <a:xfrm>
            <a:off x="3075201" y="1728154"/>
            <a:ext cx="0" cy="506049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BAB906E-8476-49DC-89F1-22EECF09E864}"/>
              </a:ext>
            </a:extLst>
          </p:cNvPr>
          <p:cNvCxnSpPr/>
          <p:nvPr/>
        </p:nvCxnSpPr>
        <p:spPr>
          <a:xfrm>
            <a:off x="6004262" y="1728154"/>
            <a:ext cx="0" cy="506049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52E3C66-FD08-4409-97C7-67303CDD4624}"/>
              </a:ext>
            </a:extLst>
          </p:cNvPr>
          <p:cNvCxnSpPr/>
          <p:nvPr/>
        </p:nvCxnSpPr>
        <p:spPr>
          <a:xfrm>
            <a:off x="8747461" y="1752501"/>
            <a:ext cx="0" cy="506049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3EFAB73-8564-4096-BC2F-047724E34202}"/>
              </a:ext>
            </a:extLst>
          </p:cNvPr>
          <p:cNvCxnSpPr>
            <a:cxnSpLocks/>
          </p:cNvCxnSpPr>
          <p:nvPr/>
        </p:nvCxnSpPr>
        <p:spPr>
          <a:xfrm flipV="1">
            <a:off x="0" y="6795364"/>
            <a:ext cx="12192000" cy="1"/>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53049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2A0E3C-24FE-4A82-9E1D-9B3FD5EEA07A}"/>
              </a:ext>
            </a:extLst>
          </p:cNvPr>
          <p:cNvSpPr>
            <a:spLocks noGrp="1"/>
          </p:cNvSpPr>
          <p:nvPr>
            <p:ph type="title"/>
          </p:nvPr>
        </p:nvSpPr>
        <p:spPr>
          <a:xfrm>
            <a:off x="738626" y="-49849"/>
            <a:ext cx="10515600" cy="874915"/>
          </a:xfrm>
        </p:spPr>
        <p:txBody>
          <a:bodyPr/>
          <a:lstStyle/>
          <a:p>
            <a:r>
              <a:rPr lang="en-US" b="1" dirty="0"/>
              <a:t>SDLC Models</a:t>
            </a:r>
            <a:endParaRPr lang="en-IN" b="1" dirty="0"/>
          </a:p>
        </p:txBody>
      </p:sp>
      <p:grpSp>
        <p:nvGrpSpPr>
          <p:cNvPr id="3" name="Google Shape;1490;p44">
            <a:extLst>
              <a:ext uri="{FF2B5EF4-FFF2-40B4-BE49-F238E27FC236}">
                <a16:creationId xmlns:a16="http://schemas.microsoft.com/office/drawing/2014/main" id="{90E5CCD7-0D1C-4158-B8F4-0F6EFACD2921}"/>
              </a:ext>
            </a:extLst>
          </p:cNvPr>
          <p:cNvGrpSpPr/>
          <p:nvPr/>
        </p:nvGrpSpPr>
        <p:grpSpPr>
          <a:xfrm>
            <a:off x="597159" y="1418253"/>
            <a:ext cx="2928995" cy="5318449"/>
            <a:chOff x="520381" y="481529"/>
            <a:chExt cx="2307531" cy="3955281"/>
          </a:xfrm>
        </p:grpSpPr>
        <p:sp>
          <p:nvSpPr>
            <p:cNvPr id="4" name="Google Shape;1491;p44">
              <a:extLst>
                <a:ext uri="{FF2B5EF4-FFF2-40B4-BE49-F238E27FC236}">
                  <a16:creationId xmlns:a16="http://schemas.microsoft.com/office/drawing/2014/main" id="{9E9C2C4E-4111-430A-860E-EAA657FE4FDB}"/>
                </a:ext>
              </a:extLst>
            </p:cNvPr>
            <p:cNvSpPr/>
            <p:nvPr/>
          </p:nvSpPr>
          <p:spPr>
            <a:xfrm>
              <a:off x="520381" y="481529"/>
              <a:ext cx="2307531" cy="3955281"/>
            </a:xfrm>
            <a:custGeom>
              <a:avLst/>
              <a:gdLst/>
              <a:ahLst/>
              <a:cxnLst/>
              <a:rect l="l" t="t" r="r" b="b"/>
              <a:pathLst>
                <a:path w="70903" h="112943" extrusionOk="0">
                  <a:moveTo>
                    <a:pt x="70902" y="0"/>
                  </a:moveTo>
                  <a:lnTo>
                    <a:pt x="1" y="48"/>
                  </a:lnTo>
                  <a:lnTo>
                    <a:pt x="35446" y="112943"/>
                  </a:lnTo>
                  <a:lnTo>
                    <a:pt x="709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492;p44">
              <a:extLst>
                <a:ext uri="{FF2B5EF4-FFF2-40B4-BE49-F238E27FC236}">
                  <a16:creationId xmlns:a16="http://schemas.microsoft.com/office/drawing/2014/main" id="{9F64F782-6C15-4A54-9BD4-0332CB58CD82}"/>
                </a:ext>
              </a:extLst>
            </p:cNvPr>
            <p:cNvSpPr/>
            <p:nvPr/>
          </p:nvSpPr>
          <p:spPr>
            <a:xfrm>
              <a:off x="1537445" y="3981386"/>
              <a:ext cx="670611" cy="431519"/>
            </a:xfrm>
            <a:custGeom>
              <a:avLst/>
              <a:gdLst/>
              <a:ahLst/>
              <a:cxnLst/>
              <a:rect l="l" t="t" r="r" b="b"/>
              <a:pathLst>
                <a:path w="23611" h="15193" extrusionOk="0">
                  <a:moveTo>
                    <a:pt x="0" y="0"/>
                  </a:moveTo>
                  <a:lnTo>
                    <a:pt x="4775" y="15193"/>
                  </a:lnTo>
                  <a:lnTo>
                    <a:pt x="16288" y="15193"/>
                  </a:lnTo>
                  <a:lnTo>
                    <a:pt x="23610" y="7597"/>
                  </a:lnTo>
                  <a:lnTo>
                    <a:pt x="1647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493;p44">
              <a:extLst>
                <a:ext uri="{FF2B5EF4-FFF2-40B4-BE49-F238E27FC236}">
                  <a16:creationId xmlns:a16="http://schemas.microsoft.com/office/drawing/2014/main" id="{8104DAA3-1193-49E9-AAC1-BEF8F0E0FD89}"/>
                </a:ext>
              </a:extLst>
            </p:cNvPr>
            <p:cNvSpPr/>
            <p:nvPr/>
          </p:nvSpPr>
          <p:spPr>
            <a:xfrm>
              <a:off x="1395915" y="3481905"/>
              <a:ext cx="902603" cy="431519"/>
            </a:xfrm>
            <a:custGeom>
              <a:avLst/>
              <a:gdLst/>
              <a:ahLst/>
              <a:cxnLst/>
              <a:rect l="l" t="t" r="r" b="b"/>
              <a:pathLst>
                <a:path w="31779" h="15193" extrusionOk="0">
                  <a:moveTo>
                    <a:pt x="1" y="0"/>
                  </a:moveTo>
                  <a:lnTo>
                    <a:pt x="4775" y="15193"/>
                  </a:lnTo>
                  <a:lnTo>
                    <a:pt x="24456" y="15193"/>
                  </a:lnTo>
                  <a:lnTo>
                    <a:pt x="31778" y="7596"/>
                  </a:lnTo>
                  <a:lnTo>
                    <a:pt x="2464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494;p44">
              <a:extLst>
                <a:ext uri="{FF2B5EF4-FFF2-40B4-BE49-F238E27FC236}">
                  <a16:creationId xmlns:a16="http://schemas.microsoft.com/office/drawing/2014/main" id="{23AB7CD5-1FCB-48E9-BB9B-5673C1ACE875}"/>
                </a:ext>
              </a:extLst>
            </p:cNvPr>
            <p:cNvSpPr/>
            <p:nvPr/>
          </p:nvSpPr>
          <p:spPr>
            <a:xfrm>
              <a:off x="1228709" y="2982084"/>
              <a:ext cx="1174131" cy="431860"/>
            </a:xfrm>
            <a:custGeom>
              <a:avLst/>
              <a:gdLst/>
              <a:ahLst/>
              <a:cxnLst/>
              <a:rect l="l" t="t" r="r" b="b"/>
              <a:pathLst>
                <a:path w="41339" h="15205" extrusionOk="0">
                  <a:moveTo>
                    <a:pt x="0" y="0"/>
                  </a:moveTo>
                  <a:lnTo>
                    <a:pt x="4775" y="15204"/>
                  </a:lnTo>
                  <a:lnTo>
                    <a:pt x="34016" y="15204"/>
                  </a:lnTo>
                  <a:lnTo>
                    <a:pt x="41339" y="7608"/>
                  </a:lnTo>
                  <a:lnTo>
                    <a:pt x="34207"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495;p44">
              <a:extLst>
                <a:ext uri="{FF2B5EF4-FFF2-40B4-BE49-F238E27FC236}">
                  <a16:creationId xmlns:a16="http://schemas.microsoft.com/office/drawing/2014/main" id="{5E93F083-50A0-4CF8-AA88-16028033A49C}"/>
                </a:ext>
              </a:extLst>
            </p:cNvPr>
            <p:cNvSpPr/>
            <p:nvPr/>
          </p:nvSpPr>
          <p:spPr>
            <a:xfrm>
              <a:off x="1097831" y="2470623"/>
              <a:ext cx="1435888" cy="431548"/>
            </a:xfrm>
            <a:custGeom>
              <a:avLst/>
              <a:gdLst/>
              <a:ahLst/>
              <a:cxnLst/>
              <a:rect l="l" t="t" r="r" b="b"/>
              <a:pathLst>
                <a:path w="50555" h="15194" extrusionOk="0">
                  <a:moveTo>
                    <a:pt x="0" y="1"/>
                  </a:moveTo>
                  <a:lnTo>
                    <a:pt x="4775" y="15193"/>
                  </a:lnTo>
                  <a:lnTo>
                    <a:pt x="43232" y="15193"/>
                  </a:lnTo>
                  <a:lnTo>
                    <a:pt x="50554" y="7597"/>
                  </a:lnTo>
                  <a:lnTo>
                    <a:pt x="4342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496;p44">
              <a:extLst>
                <a:ext uri="{FF2B5EF4-FFF2-40B4-BE49-F238E27FC236}">
                  <a16:creationId xmlns:a16="http://schemas.microsoft.com/office/drawing/2014/main" id="{0296E4E6-4817-41D3-9299-594F0A5D3EB7}"/>
                </a:ext>
              </a:extLst>
            </p:cNvPr>
            <p:cNvSpPr/>
            <p:nvPr/>
          </p:nvSpPr>
          <p:spPr>
            <a:xfrm>
              <a:off x="939913" y="1959162"/>
              <a:ext cx="1739540" cy="431548"/>
            </a:xfrm>
            <a:custGeom>
              <a:avLst/>
              <a:gdLst/>
              <a:ahLst/>
              <a:cxnLst/>
              <a:rect l="l" t="t" r="r" b="b"/>
              <a:pathLst>
                <a:path w="61246" h="15194" extrusionOk="0">
                  <a:moveTo>
                    <a:pt x="0" y="1"/>
                  </a:moveTo>
                  <a:lnTo>
                    <a:pt x="4774" y="15193"/>
                  </a:lnTo>
                  <a:lnTo>
                    <a:pt x="53923" y="15193"/>
                  </a:lnTo>
                  <a:lnTo>
                    <a:pt x="61246" y="7597"/>
                  </a:lnTo>
                  <a:lnTo>
                    <a:pt x="5410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497;p44">
              <a:extLst>
                <a:ext uri="{FF2B5EF4-FFF2-40B4-BE49-F238E27FC236}">
                  <a16:creationId xmlns:a16="http://schemas.microsoft.com/office/drawing/2014/main" id="{8200B875-3969-41C2-92A5-7652739364C6}"/>
                </a:ext>
              </a:extLst>
            </p:cNvPr>
            <p:cNvSpPr/>
            <p:nvPr/>
          </p:nvSpPr>
          <p:spPr>
            <a:xfrm>
              <a:off x="780291" y="1447740"/>
              <a:ext cx="2047621" cy="431519"/>
            </a:xfrm>
            <a:custGeom>
              <a:avLst/>
              <a:gdLst/>
              <a:ahLst/>
              <a:cxnLst/>
              <a:rect l="l" t="t" r="r" b="b"/>
              <a:pathLst>
                <a:path w="72093" h="15193" extrusionOk="0">
                  <a:moveTo>
                    <a:pt x="0" y="1"/>
                  </a:moveTo>
                  <a:lnTo>
                    <a:pt x="4775" y="15193"/>
                  </a:lnTo>
                  <a:lnTo>
                    <a:pt x="64770" y="15193"/>
                  </a:lnTo>
                  <a:lnTo>
                    <a:pt x="72093" y="7597"/>
                  </a:lnTo>
                  <a:lnTo>
                    <a:pt x="6496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 name="Google Shape;1497;p44">
            <a:extLst>
              <a:ext uri="{FF2B5EF4-FFF2-40B4-BE49-F238E27FC236}">
                <a16:creationId xmlns:a16="http://schemas.microsoft.com/office/drawing/2014/main" id="{DA6FE45D-1C6E-4EDA-94E6-946B9CA7A20C}"/>
              </a:ext>
            </a:extLst>
          </p:cNvPr>
          <p:cNvSpPr/>
          <p:nvPr/>
        </p:nvSpPr>
        <p:spPr>
          <a:xfrm>
            <a:off x="738625" y="2013696"/>
            <a:ext cx="3030941" cy="612384"/>
          </a:xfrm>
          <a:custGeom>
            <a:avLst/>
            <a:gdLst/>
            <a:ahLst/>
            <a:cxnLst/>
            <a:rect l="l" t="t" r="r" b="b"/>
            <a:pathLst>
              <a:path w="72093" h="15193" extrusionOk="0">
                <a:moveTo>
                  <a:pt x="0" y="1"/>
                </a:moveTo>
                <a:lnTo>
                  <a:pt x="4775" y="15193"/>
                </a:lnTo>
                <a:lnTo>
                  <a:pt x="64770" y="15193"/>
                </a:lnTo>
                <a:lnTo>
                  <a:pt x="72093" y="7597"/>
                </a:lnTo>
                <a:lnTo>
                  <a:pt x="64961" y="1"/>
                </a:lnTo>
                <a:close/>
              </a:path>
            </a:pathLst>
          </a:custGeom>
          <a:solidFill>
            <a:srgbClr val="C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497;p44">
            <a:extLst>
              <a:ext uri="{FF2B5EF4-FFF2-40B4-BE49-F238E27FC236}">
                <a16:creationId xmlns:a16="http://schemas.microsoft.com/office/drawing/2014/main" id="{7F4501C8-BEA7-479D-82C1-32B21F84E314}"/>
              </a:ext>
            </a:extLst>
          </p:cNvPr>
          <p:cNvSpPr/>
          <p:nvPr/>
        </p:nvSpPr>
        <p:spPr>
          <a:xfrm>
            <a:off x="494522" y="1309928"/>
            <a:ext cx="3534242" cy="580240"/>
          </a:xfrm>
          <a:custGeom>
            <a:avLst/>
            <a:gdLst/>
            <a:ahLst/>
            <a:cxnLst/>
            <a:rect l="l" t="t" r="r" b="b"/>
            <a:pathLst>
              <a:path w="72093" h="15193" extrusionOk="0">
                <a:moveTo>
                  <a:pt x="0" y="1"/>
                </a:moveTo>
                <a:lnTo>
                  <a:pt x="4775" y="15193"/>
                </a:lnTo>
                <a:lnTo>
                  <a:pt x="64770" y="15193"/>
                </a:lnTo>
                <a:lnTo>
                  <a:pt x="72093" y="7597"/>
                </a:lnTo>
                <a:lnTo>
                  <a:pt x="64961" y="1"/>
                </a:lnTo>
                <a:close/>
              </a:path>
            </a:pathLst>
          </a:custGeom>
          <a:solidFill>
            <a:srgbClr val="FF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 name="Group 63">
            <a:extLst>
              <a:ext uri="{FF2B5EF4-FFF2-40B4-BE49-F238E27FC236}">
                <a16:creationId xmlns:a16="http://schemas.microsoft.com/office/drawing/2014/main" id="{F867B523-AA83-4257-9C8D-C2E873A38377}"/>
              </a:ext>
            </a:extLst>
          </p:cNvPr>
          <p:cNvGrpSpPr/>
          <p:nvPr/>
        </p:nvGrpSpPr>
        <p:grpSpPr>
          <a:xfrm>
            <a:off x="4829859" y="1334765"/>
            <a:ext cx="6424367" cy="5301317"/>
            <a:chOff x="4829858" y="1466232"/>
            <a:chExt cx="6424367" cy="5301317"/>
          </a:xfrm>
        </p:grpSpPr>
        <p:grpSp>
          <p:nvGrpSpPr>
            <p:cNvPr id="31" name="Google Shape;1498;p44">
              <a:extLst>
                <a:ext uri="{FF2B5EF4-FFF2-40B4-BE49-F238E27FC236}">
                  <a16:creationId xmlns:a16="http://schemas.microsoft.com/office/drawing/2014/main" id="{4CD85C8F-A122-4BA2-8112-2DB8C11CCE97}"/>
                </a:ext>
              </a:extLst>
            </p:cNvPr>
            <p:cNvGrpSpPr/>
            <p:nvPr/>
          </p:nvGrpSpPr>
          <p:grpSpPr>
            <a:xfrm>
              <a:off x="4829860" y="2893869"/>
              <a:ext cx="6424365" cy="530419"/>
              <a:chOff x="3086788" y="1486200"/>
              <a:chExt cx="5346987" cy="395280"/>
            </a:xfrm>
          </p:grpSpPr>
          <p:sp>
            <p:nvSpPr>
              <p:cNvPr id="32" name="Google Shape;1499;p44">
                <a:extLst>
                  <a:ext uri="{FF2B5EF4-FFF2-40B4-BE49-F238E27FC236}">
                    <a16:creationId xmlns:a16="http://schemas.microsoft.com/office/drawing/2014/main" id="{A51BED01-F1A9-4688-870E-AA06B8F134F0}"/>
                  </a:ext>
                </a:extLst>
              </p:cNvPr>
              <p:cNvSpPr txBox="1"/>
              <p:nvPr/>
            </p:nvSpPr>
            <p:spPr>
              <a:xfrm>
                <a:off x="3086788" y="1486200"/>
                <a:ext cx="1580400" cy="354600"/>
              </a:xfrm>
              <a:prstGeom prst="rect">
                <a:avLst/>
              </a:pr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sz="2000" dirty="0">
                    <a:solidFill>
                      <a:schemeClr val="accent1"/>
                    </a:solidFill>
                    <a:latin typeface="Fira Sans Extra Condensed Medium"/>
                    <a:ea typeface="Fira Sans Extra Condensed Medium"/>
                    <a:cs typeface="Fira Sans Extra Condensed Medium"/>
                    <a:sym typeface="Fira Sans Extra Condensed Medium"/>
                  </a:rPr>
                  <a:t>Agile</a:t>
                </a:r>
                <a:endParaRPr sz="2000" dirty="0">
                  <a:solidFill>
                    <a:schemeClr val="accent1"/>
                  </a:solidFill>
                  <a:latin typeface="Fira Sans Extra Condensed Medium"/>
                  <a:ea typeface="Fira Sans Extra Condensed Medium"/>
                  <a:cs typeface="Fira Sans Extra Condensed Medium"/>
                  <a:sym typeface="Fira Sans Extra Condensed Medium"/>
                </a:endParaRPr>
              </a:p>
            </p:txBody>
          </p:sp>
          <p:sp>
            <p:nvSpPr>
              <p:cNvPr id="33" name="Google Shape;1500;p44">
                <a:extLst>
                  <a:ext uri="{FF2B5EF4-FFF2-40B4-BE49-F238E27FC236}">
                    <a16:creationId xmlns:a16="http://schemas.microsoft.com/office/drawing/2014/main" id="{1D512D5C-D1E4-4DCE-86B2-C2B1FB9C66A7}"/>
                  </a:ext>
                </a:extLst>
              </p:cNvPr>
              <p:cNvSpPr txBox="1"/>
              <p:nvPr/>
            </p:nvSpPr>
            <p:spPr>
              <a:xfrm>
                <a:off x="5053675" y="1486200"/>
                <a:ext cx="3380100" cy="395280"/>
              </a:xfrm>
              <a:prstGeom prst="rect">
                <a:avLst/>
              </a:prstGeom>
              <a:solidFill>
                <a:schemeClr val="lt2"/>
              </a:solid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dirty="0">
                    <a:solidFill>
                      <a:schemeClr val="dk1"/>
                    </a:solidFill>
                    <a:latin typeface="Fira Sans Extra Condensed Medium" panose="020B0604020202020204" charset="0"/>
                    <a:ea typeface="Roboto"/>
                    <a:cs typeface="Roboto"/>
                    <a:sym typeface="Roboto"/>
                  </a:rPr>
                  <a:t>Continous development and improvement</a:t>
                </a:r>
                <a:endParaRPr dirty="0">
                  <a:solidFill>
                    <a:srgbClr val="FF33B7"/>
                  </a:solidFill>
                  <a:latin typeface="Fira Sans Extra Condensed Medium" panose="020B0604020202020204" charset="0"/>
                  <a:ea typeface="Fira Sans Extra Condensed Medium"/>
                  <a:cs typeface="Fira Sans Extra Condensed Medium"/>
                  <a:sym typeface="Fira Sans Extra Condensed Medium"/>
                </a:endParaRPr>
              </a:p>
            </p:txBody>
          </p:sp>
          <p:cxnSp>
            <p:nvCxnSpPr>
              <p:cNvPr id="34" name="Google Shape;1501;p44">
                <a:extLst>
                  <a:ext uri="{FF2B5EF4-FFF2-40B4-BE49-F238E27FC236}">
                    <a16:creationId xmlns:a16="http://schemas.microsoft.com/office/drawing/2014/main" id="{67914A1D-50B3-444E-947A-EA555A710B15}"/>
                  </a:ext>
                </a:extLst>
              </p:cNvPr>
              <p:cNvCxnSpPr>
                <a:cxnSpLocks/>
                <a:stCxn id="32" idx="3"/>
                <a:endCxn id="33" idx="1"/>
              </p:cNvCxnSpPr>
              <p:nvPr/>
            </p:nvCxnSpPr>
            <p:spPr>
              <a:xfrm>
                <a:off x="4667188" y="1663500"/>
                <a:ext cx="386487" cy="20340"/>
              </a:xfrm>
              <a:prstGeom prst="straightConnector1">
                <a:avLst/>
              </a:prstGeom>
              <a:noFill/>
              <a:ln w="9525" cap="flat" cmpd="sng">
                <a:solidFill>
                  <a:srgbClr val="000000"/>
                </a:solidFill>
                <a:prstDash val="solid"/>
                <a:round/>
                <a:headEnd type="none" w="med" len="med"/>
                <a:tailEnd type="none" w="med" len="med"/>
              </a:ln>
            </p:spPr>
          </p:cxnSp>
        </p:grpSp>
        <p:grpSp>
          <p:nvGrpSpPr>
            <p:cNvPr id="35" name="Google Shape;1502;p44">
              <a:extLst>
                <a:ext uri="{FF2B5EF4-FFF2-40B4-BE49-F238E27FC236}">
                  <a16:creationId xmlns:a16="http://schemas.microsoft.com/office/drawing/2014/main" id="{D51DC317-32FC-4719-A146-6C590E4D8029}"/>
                </a:ext>
              </a:extLst>
            </p:cNvPr>
            <p:cNvGrpSpPr/>
            <p:nvPr/>
          </p:nvGrpSpPr>
          <p:grpSpPr>
            <a:xfrm>
              <a:off x="4829861" y="3557004"/>
              <a:ext cx="6424364" cy="530419"/>
              <a:chOff x="3086788" y="1997520"/>
              <a:chExt cx="5346988" cy="354600"/>
            </a:xfrm>
          </p:grpSpPr>
          <p:sp>
            <p:nvSpPr>
              <p:cNvPr id="36" name="Google Shape;1503;p44">
                <a:extLst>
                  <a:ext uri="{FF2B5EF4-FFF2-40B4-BE49-F238E27FC236}">
                    <a16:creationId xmlns:a16="http://schemas.microsoft.com/office/drawing/2014/main" id="{7F10C302-6F39-4E8A-8AA3-1DC1C39F3DE3}"/>
                  </a:ext>
                </a:extLst>
              </p:cNvPr>
              <p:cNvSpPr txBox="1"/>
              <p:nvPr/>
            </p:nvSpPr>
            <p:spPr>
              <a:xfrm>
                <a:off x="3086788" y="1997520"/>
                <a:ext cx="1580400" cy="354600"/>
              </a:xfrm>
              <a:prstGeom prst="rect">
                <a:avLst/>
              </a:pr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sz="2000" dirty="0">
                    <a:solidFill>
                      <a:schemeClr val="accent2"/>
                    </a:solidFill>
                    <a:latin typeface="Fira Sans Extra Condensed Medium"/>
                    <a:ea typeface="Fira Sans Extra Condensed Medium"/>
                    <a:cs typeface="Fira Sans Extra Condensed Medium"/>
                    <a:sym typeface="Fira Sans Extra Condensed Medium"/>
                  </a:rPr>
                  <a:t>Incremental</a:t>
                </a:r>
                <a:endParaRPr sz="2000" dirty="0">
                  <a:solidFill>
                    <a:schemeClr val="accent2"/>
                  </a:solidFill>
                  <a:latin typeface="Fira Sans Extra Condensed Medium"/>
                  <a:ea typeface="Fira Sans Extra Condensed Medium"/>
                  <a:cs typeface="Fira Sans Extra Condensed Medium"/>
                  <a:sym typeface="Fira Sans Extra Condensed Medium"/>
                </a:endParaRPr>
              </a:p>
            </p:txBody>
          </p:sp>
          <p:sp>
            <p:nvSpPr>
              <p:cNvPr id="37" name="Google Shape;1504;p44">
                <a:extLst>
                  <a:ext uri="{FF2B5EF4-FFF2-40B4-BE49-F238E27FC236}">
                    <a16:creationId xmlns:a16="http://schemas.microsoft.com/office/drawing/2014/main" id="{3FE6B601-4C45-4465-BEFB-1709DB33452D}"/>
                  </a:ext>
                </a:extLst>
              </p:cNvPr>
              <p:cNvSpPr txBox="1"/>
              <p:nvPr/>
            </p:nvSpPr>
            <p:spPr>
              <a:xfrm>
                <a:off x="5053675" y="1997520"/>
                <a:ext cx="3380100" cy="354600"/>
              </a:xfrm>
              <a:prstGeom prst="rect">
                <a:avLst/>
              </a:prstGeom>
              <a:solidFill>
                <a:schemeClr val="lt2"/>
              </a:solid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dirty="0">
                    <a:solidFill>
                      <a:schemeClr val="dk1"/>
                    </a:solidFill>
                    <a:latin typeface="Fira Sans Extra Condensed Medium" panose="020B0604020202020204" charset="0"/>
                    <a:ea typeface="Roboto"/>
                    <a:cs typeface="Roboto"/>
                    <a:sym typeface="Roboto"/>
                  </a:rPr>
                  <a:t>Design, test and Implement incrementally</a:t>
                </a:r>
                <a:endParaRPr dirty="0">
                  <a:solidFill>
                    <a:srgbClr val="FF33B7"/>
                  </a:solidFill>
                  <a:latin typeface="Fira Sans Extra Condensed Medium" panose="020B0604020202020204" charset="0"/>
                  <a:ea typeface="Fira Sans Extra Condensed Medium"/>
                  <a:cs typeface="Fira Sans Extra Condensed Medium"/>
                  <a:sym typeface="Fira Sans Extra Condensed Medium"/>
                </a:endParaRPr>
              </a:p>
            </p:txBody>
          </p:sp>
          <p:cxnSp>
            <p:nvCxnSpPr>
              <p:cNvPr id="38" name="Google Shape;1505;p44">
                <a:extLst>
                  <a:ext uri="{FF2B5EF4-FFF2-40B4-BE49-F238E27FC236}">
                    <a16:creationId xmlns:a16="http://schemas.microsoft.com/office/drawing/2014/main" id="{2DCC77AD-88C9-4C21-A23F-C1B74B7AA632}"/>
                  </a:ext>
                </a:extLst>
              </p:cNvPr>
              <p:cNvCxnSpPr>
                <a:stCxn id="36" idx="3"/>
                <a:endCxn id="37" idx="1"/>
              </p:cNvCxnSpPr>
              <p:nvPr/>
            </p:nvCxnSpPr>
            <p:spPr>
              <a:xfrm>
                <a:off x="4667188" y="2174820"/>
                <a:ext cx="386400" cy="0"/>
              </a:xfrm>
              <a:prstGeom prst="straightConnector1">
                <a:avLst/>
              </a:prstGeom>
              <a:noFill/>
              <a:ln w="9525" cap="flat" cmpd="sng">
                <a:solidFill>
                  <a:srgbClr val="000000"/>
                </a:solidFill>
                <a:prstDash val="solid"/>
                <a:round/>
                <a:headEnd type="none" w="med" len="med"/>
                <a:tailEnd type="none" w="med" len="med"/>
              </a:ln>
            </p:spPr>
          </p:cxnSp>
        </p:grpSp>
        <p:grpSp>
          <p:nvGrpSpPr>
            <p:cNvPr id="39" name="Google Shape;1506;p44">
              <a:extLst>
                <a:ext uri="{FF2B5EF4-FFF2-40B4-BE49-F238E27FC236}">
                  <a16:creationId xmlns:a16="http://schemas.microsoft.com/office/drawing/2014/main" id="{A64669F2-DE14-499B-879F-E9073F8990F8}"/>
                </a:ext>
              </a:extLst>
            </p:cNvPr>
            <p:cNvGrpSpPr/>
            <p:nvPr/>
          </p:nvGrpSpPr>
          <p:grpSpPr>
            <a:xfrm>
              <a:off x="4829862" y="4250897"/>
              <a:ext cx="6424360" cy="499661"/>
              <a:chOff x="3086788" y="2508840"/>
              <a:chExt cx="5346988" cy="354601"/>
            </a:xfrm>
          </p:grpSpPr>
          <p:sp>
            <p:nvSpPr>
              <p:cNvPr id="40" name="Google Shape;1507;p44">
                <a:extLst>
                  <a:ext uri="{FF2B5EF4-FFF2-40B4-BE49-F238E27FC236}">
                    <a16:creationId xmlns:a16="http://schemas.microsoft.com/office/drawing/2014/main" id="{A74BBDE8-F5DE-4EDB-86CE-317344744F31}"/>
                  </a:ext>
                </a:extLst>
              </p:cNvPr>
              <p:cNvSpPr txBox="1"/>
              <p:nvPr/>
            </p:nvSpPr>
            <p:spPr>
              <a:xfrm>
                <a:off x="3086788" y="2508841"/>
                <a:ext cx="1580400" cy="354600"/>
              </a:xfrm>
              <a:prstGeom prst="rect">
                <a:avLst/>
              </a:pr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sz="2000" dirty="0">
                    <a:solidFill>
                      <a:schemeClr val="accent3"/>
                    </a:solidFill>
                    <a:latin typeface="Fira Sans Extra Condensed Medium"/>
                    <a:ea typeface="Fira Sans Extra Condensed Medium"/>
                    <a:cs typeface="Fira Sans Extra Condensed Medium"/>
                    <a:sym typeface="Fira Sans Extra Condensed Medium"/>
                  </a:rPr>
                  <a:t>V-Model</a:t>
                </a:r>
                <a:endParaRPr sz="2000" dirty="0">
                  <a:solidFill>
                    <a:schemeClr val="accent3"/>
                  </a:solidFill>
                  <a:latin typeface="Fira Sans Extra Condensed Medium"/>
                  <a:ea typeface="Fira Sans Extra Condensed Medium"/>
                  <a:cs typeface="Fira Sans Extra Condensed Medium"/>
                  <a:sym typeface="Fira Sans Extra Condensed Medium"/>
                </a:endParaRPr>
              </a:p>
            </p:txBody>
          </p:sp>
          <p:sp>
            <p:nvSpPr>
              <p:cNvPr id="41" name="Google Shape;1508;p44">
                <a:extLst>
                  <a:ext uri="{FF2B5EF4-FFF2-40B4-BE49-F238E27FC236}">
                    <a16:creationId xmlns:a16="http://schemas.microsoft.com/office/drawing/2014/main" id="{FF1FC2D5-9EDB-46D0-8BB5-791D137CC6EB}"/>
                  </a:ext>
                </a:extLst>
              </p:cNvPr>
              <p:cNvSpPr txBox="1"/>
              <p:nvPr/>
            </p:nvSpPr>
            <p:spPr>
              <a:xfrm>
                <a:off x="5053675" y="2508840"/>
                <a:ext cx="3380100" cy="354600"/>
              </a:xfrm>
              <a:prstGeom prst="rect">
                <a:avLst/>
              </a:prstGeom>
              <a:solidFill>
                <a:schemeClr val="lt2"/>
              </a:solid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dirty="0">
                    <a:solidFill>
                      <a:schemeClr val="dk1"/>
                    </a:solidFill>
                    <a:latin typeface="Fira Sans Extra Condensed Medium" panose="020B0604020202020204" charset="0"/>
                    <a:ea typeface="Roboto"/>
                    <a:cs typeface="Roboto"/>
                    <a:sym typeface="Roboto"/>
                  </a:rPr>
                  <a:t>Process steps forms a V shape</a:t>
                </a:r>
                <a:endParaRPr dirty="0">
                  <a:solidFill>
                    <a:srgbClr val="FF33B7"/>
                  </a:solidFill>
                  <a:latin typeface="Fira Sans Extra Condensed Medium" panose="020B0604020202020204" charset="0"/>
                  <a:ea typeface="Fira Sans Extra Condensed Medium"/>
                  <a:cs typeface="Fira Sans Extra Condensed Medium"/>
                  <a:sym typeface="Fira Sans Extra Condensed Medium"/>
                </a:endParaRPr>
              </a:p>
            </p:txBody>
          </p:sp>
          <p:cxnSp>
            <p:nvCxnSpPr>
              <p:cNvPr id="42" name="Google Shape;1509;p44">
                <a:extLst>
                  <a:ext uri="{FF2B5EF4-FFF2-40B4-BE49-F238E27FC236}">
                    <a16:creationId xmlns:a16="http://schemas.microsoft.com/office/drawing/2014/main" id="{22FA09A2-8EE9-4D46-BCA4-F8AE54A4DFD2}"/>
                  </a:ext>
                </a:extLst>
              </p:cNvPr>
              <p:cNvCxnSpPr>
                <a:stCxn id="40" idx="3"/>
                <a:endCxn id="41" idx="1"/>
              </p:cNvCxnSpPr>
              <p:nvPr/>
            </p:nvCxnSpPr>
            <p:spPr>
              <a:xfrm>
                <a:off x="4667188" y="2686141"/>
                <a:ext cx="386400" cy="0"/>
              </a:xfrm>
              <a:prstGeom prst="straightConnector1">
                <a:avLst/>
              </a:prstGeom>
              <a:noFill/>
              <a:ln w="9525" cap="flat" cmpd="sng">
                <a:solidFill>
                  <a:srgbClr val="000000"/>
                </a:solidFill>
                <a:prstDash val="solid"/>
                <a:round/>
                <a:headEnd type="none" w="med" len="med"/>
                <a:tailEnd type="none" w="med" len="med"/>
              </a:ln>
            </p:spPr>
          </p:cxnSp>
        </p:grpSp>
        <p:grpSp>
          <p:nvGrpSpPr>
            <p:cNvPr id="43" name="Google Shape;1510;p44">
              <a:extLst>
                <a:ext uri="{FF2B5EF4-FFF2-40B4-BE49-F238E27FC236}">
                  <a16:creationId xmlns:a16="http://schemas.microsoft.com/office/drawing/2014/main" id="{1C49F09D-BB5A-466D-9DDA-324C4AD56DA5}"/>
                </a:ext>
              </a:extLst>
            </p:cNvPr>
            <p:cNvGrpSpPr/>
            <p:nvPr/>
          </p:nvGrpSpPr>
          <p:grpSpPr>
            <a:xfrm>
              <a:off x="4829863" y="4893660"/>
              <a:ext cx="6424358" cy="544843"/>
              <a:chOff x="3086788" y="3020160"/>
              <a:chExt cx="5346988" cy="354601"/>
            </a:xfrm>
          </p:grpSpPr>
          <p:sp>
            <p:nvSpPr>
              <p:cNvPr id="44" name="Google Shape;1511;p44">
                <a:extLst>
                  <a:ext uri="{FF2B5EF4-FFF2-40B4-BE49-F238E27FC236}">
                    <a16:creationId xmlns:a16="http://schemas.microsoft.com/office/drawing/2014/main" id="{30B0C7DE-1440-44D5-ACEE-C377896C0515}"/>
                  </a:ext>
                </a:extLst>
              </p:cNvPr>
              <p:cNvSpPr txBox="1"/>
              <p:nvPr/>
            </p:nvSpPr>
            <p:spPr>
              <a:xfrm>
                <a:off x="3086788" y="3020161"/>
                <a:ext cx="1580400" cy="354600"/>
              </a:xfrm>
              <a:prstGeom prst="rect">
                <a:avLst/>
              </a:pr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sz="2000" dirty="0">
                    <a:solidFill>
                      <a:schemeClr val="accent4"/>
                    </a:solidFill>
                    <a:latin typeface="Fira Sans Extra Condensed Medium"/>
                    <a:ea typeface="Fira Sans Extra Condensed Medium"/>
                    <a:cs typeface="Fira Sans Extra Condensed Medium"/>
                    <a:sym typeface="Fira Sans Extra Condensed Medium"/>
                  </a:rPr>
                  <a:t>Spiral</a:t>
                </a:r>
                <a:endParaRPr sz="2000" dirty="0">
                  <a:solidFill>
                    <a:schemeClr val="accent4"/>
                  </a:solidFill>
                  <a:latin typeface="Fira Sans Extra Condensed Medium"/>
                  <a:ea typeface="Fira Sans Extra Condensed Medium"/>
                  <a:cs typeface="Fira Sans Extra Condensed Medium"/>
                  <a:sym typeface="Fira Sans Extra Condensed Medium"/>
                </a:endParaRPr>
              </a:p>
            </p:txBody>
          </p:sp>
          <p:sp>
            <p:nvSpPr>
              <p:cNvPr id="45" name="Google Shape;1512;p44">
                <a:extLst>
                  <a:ext uri="{FF2B5EF4-FFF2-40B4-BE49-F238E27FC236}">
                    <a16:creationId xmlns:a16="http://schemas.microsoft.com/office/drawing/2014/main" id="{778E03FB-7885-4C9A-9836-E34B3B5986C6}"/>
                  </a:ext>
                </a:extLst>
              </p:cNvPr>
              <p:cNvSpPr txBox="1"/>
              <p:nvPr/>
            </p:nvSpPr>
            <p:spPr>
              <a:xfrm>
                <a:off x="5053675" y="3020160"/>
                <a:ext cx="3380100" cy="354600"/>
              </a:xfrm>
              <a:prstGeom prst="rect">
                <a:avLst/>
              </a:prstGeom>
              <a:solidFill>
                <a:schemeClr val="lt2"/>
              </a:solid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dirty="0">
                    <a:solidFill>
                      <a:schemeClr val="dk1"/>
                    </a:solidFill>
                    <a:latin typeface="Fira Sans Extra Condensed Medium" panose="020B0604020202020204" charset="0"/>
                    <a:ea typeface="Roboto"/>
                    <a:cs typeface="Roboto"/>
                    <a:sym typeface="Roboto"/>
                  </a:rPr>
                  <a:t>Adopt elements from one or more process models </a:t>
                </a:r>
                <a:endParaRPr dirty="0">
                  <a:solidFill>
                    <a:srgbClr val="FF33B7"/>
                  </a:solidFill>
                  <a:latin typeface="Fira Sans Extra Condensed Medium" panose="020B0604020202020204" charset="0"/>
                  <a:ea typeface="Fira Sans Extra Condensed Medium"/>
                  <a:cs typeface="Fira Sans Extra Condensed Medium"/>
                  <a:sym typeface="Fira Sans Extra Condensed Medium"/>
                </a:endParaRPr>
              </a:p>
            </p:txBody>
          </p:sp>
          <p:cxnSp>
            <p:nvCxnSpPr>
              <p:cNvPr id="46" name="Google Shape;1513;p44">
                <a:extLst>
                  <a:ext uri="{FF2B5EF4-FFF2-40B4-BE49-F238E27FC236}">
                    <a16:creationId xmlns:a16="http://schemas.microsoft.com/office/drawing/2014/main" id="{CE4C244C-E50A-4431-8B67-6C86109FCD60}"/>
                  </a:ext>
                </a:extLst>
              </p:cNvPr>
              <p:cNvCxnSpPr>
                <a:stCxn id="44" idx="3"/>
                <a:endCxn id="45" idx="1"/>
              </p:cNvCxnSpPr>
              <p:nvPr/>
            </p:nvCxnSpPr>
            <p:spPr>
              <a:xfrm>
                <a:off x="4667188" y="3197461"/>
                <a:ext cx="386400" cy="0"/>
              </a:xfrm>
              <a:prstGeom prst="straightConnector1">
                <a:avLst/>
              </a:prstGeom>
              <a:noFill/>
              <a:ln w="9525" cap="flat" cmpd="sng">
                <a:solidFill>
                  <a:srgbClr val="000000"/>
                </a:solidFill>
                <a:prstDash val="solid"/>
                <a:round/>
                <a:headEnd type="none" w="med" len="med"/>
                <a:tailEnd type="none" w="med" len="med"/>
              </a:ln>
            </p:spPr>
          </p:cxnSp>
        </p:grpSp>
        <p:grpSp>
          <p:nvGrpSpPr>
            <p:cNvPr id="47" name="Google Shape;1514;p44">
              <a:extLst>
                <a:ext uri="{FF2B5EF4-FFF2-40B4-BE49-F238E27FC236}">
                  <a16:creationId xmlns:a16="http://schemas.microsoft.com/office/drawing/2014/main" id="{071E732C-C64D-44C7-A51C-C8E27781ACA2}"/>
                </a:ext>
              </a:extLst>
            </p:cNvPr>
            <p:cNvGrpSpPr/>
            <p:nvPr/>
          </p:nvGrpSpPr>
          <p:grpSpPr>
            <a:xfrm>
              <a:off x="4829862" y="5589030"/>
              <a:ext cx="6424357" cy="530417"/>
              <a:chOff x="3086788" y="3531480"/>
              <a:chExt cx="5346988" cy="354602"/>
            </a:xfrm>
          </p:grpSpPr>
          <p:sp>
            <p:nvSpPr>
              <p:cNvPr id="48" name="Google Shape;1515;p44">
                <a:extLst>
                  <a:ext uri="{FF2B5EF4-FFF2-40B4-BE49-F238E27FC236}">
                    <a16:creationId xmlns:a16="http://schemas.microsoft.com/office/drawing/2014/main" id="{16984AF1-2587-47D6-8534-9BCCF640C611}"/>
                  </a:ext>
                </a:extLst>
              </p:cNvPr>
              <p:cNvSpPr txBox="1"/>
              <p:nvPr/>
            </p:nvSpPr>
            <p:spPr>
              <a:xfrm>
                <a:off x="3086788" y="3531482"/>
                <a:ext cx="1580400" cy="354600"/>
              </a:xfrm>
              <a:prstGeom prst="rect">
                <a:avLst/>
              </a:pr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US" sz="2000" dirty="0">
                    <a:solidFill>
                      <a:schemeClr val="accent5"/>
                    </a:solidFill>
                    <a:latin typeface="Fira Sans Extra Condensed Medium"/>
                    <a:ea typeface="Fira Sans Extra Condensed Medium"/>
                    <a:cs typeface="Fira Sans Extra Condensed Medium"/>
                    <a:sym typeface="Fira Sans Extra Condensed Medium"/>
                  </a:rPr>
                  <a:t>RAD</a:t>
                </a:r>
                <a:endParaRPr sz="2000" dirty="0">
                  <a:solidFill>
                    <a:schemeClr val="accent5"/>
                  </a:solidFill>
                  <a:latin typeface="Fira Sans Extra Condensed Medium"/>
                  <a:ea typeface="Fira Sans Extra Condensed Medium"/>
                  <a:cs typeface="Fira Sans Extra Condensed Medium"/>
                  <a:sym typeface="Fira Sans Extra Condensed Medium"/>
                </a:endParaRPr>
              </a:p>
            </p:txBody>
          </p:sp>
          <p:sp>
            <p:nvSpPr>
              <p:cNvPr id="49" name="Google Shape;1516;p44">
                <a:extLst>
                  <a:ext uri="{FF2B5EF4-FFF2-40B4-BE49-F238E27FC236}">
                    <a16:creationId xmlns:a16="http://schemas.microsoft.com/office/drawing/2014/main" id="{D87162A8-B11F-4AC5-9E23-19BD1568DADA}"/>
                  </a:ext>
                </a:extLst>
              </p:cNvPr>
              <p:cNvSpPr txBox="1"/>
              <p:nvPr/>
            </p:nvSpPr>
            <p:spPr>
              <a:xfrm>
                <a:off x="5053675" y="3531480"/>
                <a:ext cx="3380100" cy="354600"/>
              </a:xfrm>
              <a:prstGeom prst="rect">
                <a:avLst/>
              </a:prstGeom>
              <a:solidFill>
                <a:schemeClr val="lt2"/>
              </a:solid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dirty="0">
                    <a:solidFill>
                      <a:schemeClr val="dk1"/>
                    </a:solidFill>
                    <a:latin typeface="Fira Sans Extra Condensed Medium" panose="020B0604020202020204" charset="0"/>
                    <a:ea typeface="Roboto"/>
                    <a:cs typeface="Roboto"/>
                    <a:sym typeface="Roboto"/>
                  </a:rPr>
                  <a:t>More emphasis on adaptive process</a:t>
                </a:r>
                <a:endParaRPr dirty="0">
                  <a:solidFill>
                    <a:srgbClr val="FF33B7"/>
                  </a:solidFill>
                  <a:latin typeface="Fira Sans Extra Condensed Medium" panose="020B0604020202020204" charset="0"/>
                  <a:ea typeface="Fira Sans Extra Condensed Medium"/>
                  <a:cs typeface="Fira Sans Extra Condensed Medium"/>
                  <a:sym typeface="Fira Sans Extra Condensed Medium"/>
                </a:endParaRPr>
              </a:p>
            </p:txBody>
          </p:sp>
          <p:cxnSp>
            <p:nvCxnSpPr>
              <p:cNvPr id="50" name="Google Shape;1517;p44">
                <a:extLst>
                  <a:ext uri="{FF2B5EF4-FFF2-40B4-BE49-F238E27FC236}">
                    <a16:creationId xmlns:a16="http://schemas.microsoft.com/office/drawing/2014/main" id="{80CC7D64-95A3-43F9-86C5-683C695FEFF1}"/>
                  </a:ext>
                </a:extLst>
              </p:cNvPr>
              <p:cNvCxnSpPr>
                <a:stCxn id="48" idx="3"/>
                <a:endCxn id="49" idx="1"/>
              </p:cNvCxnSpPr>
              <p:nvPr/>
            </p:nvCxnSpPr>
            <p:spPr>
              <a:xfrm>
                <a:off x="4667188" y="3708782"/>
                <a:ext cx="386400" cy="0"/>
              </a:xfrm>
              <a:prstGeom prst="straightConnector1">
                <a:avLst/>
              </a:prstGeom>
              <a:noFill/>
              <a:ln w="9525" cap="flat" cmpd="sng">
                <a:solidFill>
                  <a:srgbClr val="000000"/>
                </a:solidFill>
                <a:prstDash val="solid"/>
                <a:round/>
                <a:headEnd type="none" w="med" len="med"/>
                <a:tailEnd type="none" w="med" len="med"/>
              </a:ln>
            </p:spPr>
          </p:cxnSp>
        </p:grpSp>
        <p:grpSp>
          <p:nvGrpSpPr>
            <p:cNvPr id="51" name="Google Shape;1518;p44">
              <a:extLst>
                <a:ext uri="{FF2B5EF4-FFF2-40B4-BE49-F238E27FC236}">
                  <a16:creationId xmlns:a16="http://schemas.microsoft.com/office/drawing/2014/main" id="{899DFDE4-CAF4-46C2-BD01-E8C547CE4674}"/>
                </a:ext>
              </a:extLst>
            </p:cNvPr>
            <p:cNvGrpSpPr/>
            <p:nvPr/>
          </p:nvGrpSpPr>
          <p:grpSpPr>
            <a:xfrm>
              <a:off x="4829862" y="6237136"/>
              <a:ext cx="6424355" cy="530413"/>
              <a:chOff x="3086788" y="4042800"/>
              <a:chExt cx="5346988" cy="354602"/>
            </a:xfrm>
          </p:grpSpPr>
          <p:sp>
            <p:nvSpPr>
              <p:cNvPr id="52" name="Google Shape;1519;p44">
                <a:extLst>
                  <a:ext uri="{FF2B5EF4-FFF2-40B4-BE49-F238E27FC236}">
                    <a16:creationId xmlns:a16="http://schemas.microsoft.com/office/drawing/2014/main" id="{4E15498E-9864-4D36-BF97-9D08D1FDE8F5}"/>
                  </a:ext>
                </a:extLst>
              </p:cNvPr>
              <p:cNvSpPr txBox="1"/>
              <p:nvPr/>
            </p:nvSpPr>
            <p:spPr>
              <a:xfrm>
                <a:off x="3086788" y="4042802"/>
                <a:ext cx="1580400" cy="354600"/>
              </a:xfrm>
              <a:prstGeom prst="rect">
                <a:avLst/>
              </a:pr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sz="2000" dirty="0">
                    <a:solidFill>
                      <a:schemeClr val="accent6"/>
                    </a:solidFill>
                    <a:latin typeface="Fira Sans Extra Condensed Medium"/>
                    <a:ea typeface="Fira Sans Extra Condensed Medium"/>
                    <a:cs typeface="Fira Sans Extra Condensed Medium"/>
                    <a:sym typeface="Fira Sans Extra Condensed Medium"/>
                  </a:rPr>
                  <a:t>WaterFall</a:t>
                </a:r>
                <a:endParaRPr sz="2000" dirty="0">
                  <a:solidFill>
                    <a:schemeClr val="accent6"/>
                  </a:solidFill>
                  <a:latin typeface="Fira Sans Extra Condensed Medium"/>
                  <a:ea typeface="Fira Sans Extra Condensed Medium"/>
                  <a:cs typeface="Fira Sans Extra Condensed Medium"/>
                  <a:sym typeface="Fira Sans Extra Condensed Medium"/>
                </a:endParaRPr>
              </a:p>
            </p:txBody>
          </p:sp>
          <p:sp>
            <p:nvSpPr>
              <p:cNvPr id="53" name="Google Shape;1520;p44">
                <a:extLst>
                  <a:ext uri="{FF2B5EF4-FFF2-40B4-BE49-F238E27FC236}">
                    <a16:creationId xmlns:a16="http://schemas.microsoft.com/office/drawing/2014/main" id="{74B147A5-EC7D-45FA-8373-F8DCD4E3BE34}"/>
                  </a:ext>
                </a:extLst>
              </p:cNvPr>
              <p:cNvSpPr txBox="1"/>
              <p:nvPr/>
            </p:nvSpPr>
            <p:spPr>
              <a:xfrm>
                <a:off x="5053675" y="4042800"/>
                <a:ext cx="3380100" cy="354600"/>
              </a:xfrm>
              <a:prstGeom prst="rect">
                <a:avLst/>
              </a:prstGeom>
              <a:solidFill>
                <a:schemeClr val="lt2"/>
              </a:solid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US" dirty="0">
                    <a:solidFill>
                      <a:srgbClr val="273239"/>
                    </a:solidFill>
                    <a:latin typeface="Fira Sans Extra Condensed Medium" panose="020B0604020202020204" charset="0"/>
                  </a:rPr>
                  <a:t>Breakdown of project activities into linear sequential phases</a:t>
                </a:r>
                <a:endParaRPr dirty="0">
                  <a:solidFill>
                    <a:srgbClr val="FF33B7"/>
                  </a:solidFill>
                  <a:latin typeface="Fira Sans Extra Condensed Medium" panose="020B0604020202020204" charset="0"/>
                  <a:ea typeface="Fira Sans Extra Condensed Medium"/>
                  <a:cs typeface="Fira Sans Extra Condensed Medium"/>
                  <a:sym typeface="Fira Sans Extra Condensed Medium"/>
                </a:endParaRPr>
              </a:p>
            </p:txBody>
          </p:sp>
          <p:cxnSp>
            <p:nvCxnSpPr>
              <p:cNvPr id="54" name="Google Shape;1521;p44">
                <a:extLst>
                  <a:ext uri="{FF2B5EF4-FFF2-40B4-BE49-F238E27FC236}">
                    <a16:creationId xmlns:a16="http://schemas.microsoft.com/office/drawing/2014/main" id="{A9AE300A-6005-4F74-98C4-922C4D782C27}"/>
                  </a:ext>
                </a:extLst>
              </p:cNvPr>
              <p:cNvCxnSpPr>
                <a:stCxn id="52" idx="3"/>
                <a:endCxn id="53" idx="1"/>
              </p:cNvCxnSpPr>
              <p:nvPr/>
            </p:nvCxnSpPr>
            <p:spPr>
              <a:xfrm>
                <a:off x="4667188" y="4220102"/>
                <a:ext cx="386400" cy="0"/>
              </a:xfrm>
              <a:prstGeom prst="straightConnector1">
                <a:avLst/>
              </a:prstGeom>
              <a:noFill/>
              <a:ln w="9525" cap="flat" cmpd="sng">
                <a:solidFill>
                  <a:srgbClr val="000000"/>
                </a:solidFill>
                <a:prstDash val="solid"/>
                <a:round/>
                <a:headEnd type="none" w="med" len="med"/>
                <a:tailEnd type="none" w="med" len="med"/>
              </a:ln>
            </p:spPr>
          </p:cxnSp>
        </p:grpSp>
        <p:grpSp>
          <p:nvGrpSpPr>
            <p:cNvPr id="55" name="Google Shape;1498;p44">
              <a:extLst>
                <a:ext uri="{FF2B5EF4-FFF2-40B4-BE49-F238E27FC236}">
                  <a16:creationId xmlns:a16="http://schemas.microsoft.com/office/drawing/2014/main" id="{400E6B5C-1E29-4B88-8316-8692C09D5FD4}"/>
                </a:ext>
              </a:extLst>
            </p:cNvPr>
            <p:cNvGrpSpPr/>
            <p:nvPr/>
          </p:nvGrpSpPr>
          <p:grpSpPr>
            <a:xfrm>
              <a:off x="4829858" y="2130409"/>
              <a:ext cx="6424366" cy="587055"/>
              <a:chOff x="3086788" y="1486200"/>
              <a:chExt cx="5346988" cy="354600"/>
            </a:xfrm>
          </p:grpSpPr>
          <p:sp>
            <p:nvSpPr>
              <p:cNvPr id="56" name="Google Shape;1499;p44">
                <a:extLst>
                  <a:ext uri="{FF2B5EF4-FFF2-40B4-BE49-F238E27FC236}">
                    <a16:creationId xmlns:a16="http://schemas.microsoft.com/office/drawing/2014/main" id="{2EDAD0E6-8710-40CF-A8E9-52B91753F63F}"/>
                  </a:ext>
                </a:extLst>
              </p:cNvPr>
              <p:cNvSpPr txBox="1"/>
              <p:nvPr/>
            </p:nvSpPr>
            <p:spPr>
              <a:xfrm>
                <a:off x="3086788" y="1486200"/>
                <a:ext cx="1580400" cy="354600"/>
              </a:xfrm>
              <a:prstGeom prst="rect">
                <a:avLst/>
              </a:pr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sz="2000" dirty="0">
                    <a:solidFill>
                      <a:schemeClr val="accent2">
                        <a:lumMod val="75000"/>
                      </a:schemeClr>
                    </a:solidFill>
                    <a:latin typeface="Fira Sans Extra Condensed Medium"/>
                    <a:ea typeface="Fira Sans Extra Condensed Medium"/>
                    <a:cs typeface="Fira Sans Extra Condensed Medium"/>
                    <a:sym typeface="Fira Sans Extra Condensed Medium"/>
                  </a:rPr>
                  <a:t>Iterative</a:t>
                </a:r>
                <a:endParaRPr sz="2000" dirty="0">
                  <a:solidFill>
                    <a:schemeClr val="accent2">
                      <a:lumMod val="75000"/>
                    </a:schemeClr>
                  </a:solidFill>
                  <a:latin typeface="Fira Sans Extra Condensed Medium"/>
                  <a:ea typeface="Fira Sans Extra Condensed Medium"/>
                  <a:cs typeface="Fira Sans Extra Condensed Medium"/>
                  <a:sym typeface="Fira Sans Extra Condensed Medium"/>
                </a:endParaRPr>
              </a:p>
            </p:txBody>
          </p:sp>
          <p:sp>
            <p:nvSpPr>
              <p:cNvPr id="57" name="Google Shape;1500;p44">
                <a:extLst>
                  <a:ext uri="{FF2B5EF4-FFF2-40B4-BE49-F238E27FC236}">
                    <a16:creationId xmlns:a16="http://schemas.microsoft.com/office/drawing/2014/main" id="{8995D4F0-A87C-4FA2-A4AC-DAC045C25040}"/>
                  </a:ext>
                </a:extLst>
              </p:cNvPr>
              <p:cNvSpPr txBox="1"/>
              <p:nvPr/>
            </p:nvSpPr>
            <p:spPr>
              <a:xfrm>
                <a:off x="5053675" y="1486200"/>
                <a:ext cx="3380100" cy="354600"/>
              </a:xfrm>
              <a:prstGeom prst="rect">
                <a:avLst/>
              </a:prstGeom>
              <a:solidFill>
                <a:schemeClr val="lt2"/>
              </a:solid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dirty="0">
                    <a:solidFill>
                      <a:schemeClr val="dk1"/>
                    </a:solidFill>
                    <a:latin typeface="Fira Sans Extra Condensed Medium" panose="020B0604020202020204" charset="0"/>
                    <a:ea typeface="Roboto"/>
                    <a:cs typeface="Roboto"/>
                    <a:sym typeface="Roboto"/>
                  </a:rPr>
                  <a:t>Feedback from every phase</a:t>
                </a:r>
                <a:endParaRPr dirty="0">
                  <a:solidFill>
                    <a:srgbClr val="FF33B7"/>
                  </a:solidFill>
                  <a:latin typeface="Fira Sans Extra Condensed Medium" panose="020B0604020202020204" charset="0"/>
                  <a:ea typeface="Fira Sans Extra Condensed Medium"/>
                  <a:cs typeface="Fira Sans Extra Condensed Medium"/>
                  <a:sym typeface="Fira Sans Extra Condensed Medium"/>
                </a:endParaRPr>
              </a:p>
            </p:txBody>
          </p:sp>
          <p:cxnSp>
            <p:nvCxnSpPr>
              <p:cNvPr id="58" name="Google Shape;1501;p44">
                <a:extLst>
                  <a:ext uri="{FF2B5EF4-FFF2-40B4-BE49-F238E27FC236}">
                    <a16:creationId xmlns:a16="http://schemas.microsoft.com/office/drawing/2014/main" id="{8791C47C-EAD6-4425-B1B5-0F2C74FAC653}"/>
                  </a:ext>
                </a:extLst>
              </p:cNvPr>
              <p:cNvCxnSpPr>
                <a:stCxn id="56" idx="3"/>
                <a:endCxn id="57" idx="1"/>
              </p:cNvCxnSpPr>
              <p:nvPr/>
            </p:nvCxnSpPr>
            <p:spPr>
              <a:xfrm>
                <a:off x="4667188" y="1663500"/>
                <a:ext cx="386400" cy="0"/>
              </a:xfrm>
              <a:prstGeom prst="straightConnector1">
                <a:avLst/>
              </a:prstGeom>
              <a:noFill/>
              <a:ln w="9525" cap="flat" cmpd="sng">
                <a:solidFill>
                  <a:srgbClr val="000000"/>
                </a:solidFill>
                <a:prstDash val="solid"/>
                <a:round/>
                <a:headEnd type="none" w="med" len="med"/>
                <a:tailEnd type="none" w="med" len="med"/>
              </a:ln>
            </p:spPr>
          </p:cxnSp>
        </p:grpSp>
        <p:grpSp>
          <p:nvGrpSpPr>
            <p:cNvPr id="59" name="Google Shape;1498;p44">
              <a:extLst>
                <a:ext uri="{FF2B5EF4-FFF2-40B4-BE49-F238E27FC236}">
                  <a16:creationId xmlns:a16="http://schemas.microsoft.com/office/drawing/2014/main" id="{79049ADC-0E1C-4F95-A886-C2D421756351}"/>
                </a:ext>
              </a:extLst>
            </p:cNvPr>
            <p:cNvGrpSpPr/>
            <p:nvPr/>
          </p:nvGrpSpPr>
          <p:grpSpPr>
            <a:xfrm>
              <a:off x="4829859" y="1466232"/>
              <a:ext cx="6424364" cy="541239"/>
              <a:chOff x="3086788" y="1486200"/>
              <a:chExt cx="5346988" cy="354600"/>
            </a:xfrm>
          </p:grpSpPr>
          <p:sp>
            <p:nvSpPr>
              <p:cNvPr id="60" name="Google Shape;1499;p44">
                <a:extLst>
                  <a:ext uri="{FF2B5EF4-FFF2-40B4-BE49-F238E27FC236}">
                    <a16:creationId xmlns:a16="http://schemas.microsoft.com/office/drawing/2014/main" id="{08CE9BD3-C56B-4555-889D-252FF6133CAA}"/>
                  </a:ext>
                </a:extLst>
              </p:cNvPr>
              <p:cNvSpPr txBox="1"/>
              <p:nvPr/>
            </p:nvSpPr>
            <p:spPr>
              <a:xfrm>
                <a:off x="3086788" y="1486200"/>
                <a:ext cx="1580400" cy="354600"/>
              </a:xfrm>
              <a:prstGeom prst="rect">
                <a:avLst/>
              </a:pr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sz="2000" dirty="0">
                    <a:solidFill>
                      <a:srgbClr val="FF0000"/>
                    </a:solidFill>
                    <a:latin typeface="Fira Sans Extra Condensed Medium"/>
                    <a:ea typeface="Fira Sans Extra Condensed Medium"/>
                    <a:cs typeface="Fira Sans Extra Condensed Medium"/>
                    <a:sym typeface="Fira Sans Extra Condensed Medium"/>
                  </a:rPr>
                  <a:t>BigBang</a:t>
                </a:r>
                <a:endParaRPr sz="2000" dirty="0">
                  <a:solidFill>
                    <a:srgbClr val="FF0000"/>
                  </a:solidFill>
                  <a:latin typeface="Fira Sans Extra Condensed Medium"/>
                  <a:ea typeface="Fira Sans Extra Condensed Medium"/>
                  <a:cs typeface="Fira Sans Extra Condensed Medium"/>
                  <a:sym typeface="Fira Sans Extra Condensed Medium"/>
                </a:endParaRPr>
              </a:p>
            </p:txBody>
          </p:sp>
          <p:sp>
            <p:nvSpPr>
              <p:cNvPr id="61" name="Google Shape;1500;p44">
                <a:extLst>
                  <a:ext uri="{FF2B5EF4-FFF2-40B4-BE49-F238E27FC236}">
                    <a16:creationId xmlns:a16="http://schemas.microsoft.com/office/drawing/2014/main" id="{52BD568B-1547-4287-9AA8-176CDA15AFBA}"/>
                  </a:ext>
                </a:extLst>
              </p:cNvPr>
              <p:cNvSpPr txBox="1"/>
              <p:nvPr/>
            </p:nvSpPr>
            <p:spPr>
              <a:xfrm>
                <a:off x="5053675" y="1486200"/>
                <a:ext cx="3380100" cy="354600"/>
              </a:xfrm>
              <a:prstGeom prst="rect">
                <a:avLst/>
              </a:prstGeom>
              <a:solidFill>
                <a:schemeClr val="lt2"/>
              </a:solid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US" dirty="0">
                    <a:latin typeface="Fira Sans Extra Condensed Medium" panose="020B0604020202020204" charset="0"/>
                    <a:ea typeface="Fira Sans Extra Condensed Medium"/>
                    <a:cs typeface="Fira Sans Extra Condensed Medium"/>
                    <a:sym typeface="Fira Sans Extra Condensed Medium"/>
                  </a:rPr>
                  <a:t>Based on Time, Effort &amp; Resource</a:t>
                </a:r>
                <a:endParaRPr dirty="0">
                  <a:latin typeface="Fira Sans Extra Condensed Medium" panose="020B0604020202020204" charset="0"/>
                  <a:ea typeface="Fira Sans Extra Condensed Medium"/>
                  <a:cs typeface="Fira Sans Extra Condensed Medium"/>
                  <a:sym typeface="Fira Sans Extra Condensed Medium"/>
                </a:endParaRPr>
              </a:p>
            </p:txBody>
          </p:sp>
          <p:cxnSp>
            <p:nvCxnSpPr>
              <p:cNvPr id="62" name="Google Shape;1501;p44">
                <a:extLst>
                  <a:ext uri="{FF2B5EF4-FFF2-40B4-BE49-F238E27FC236}">
                    <a16:creationId xmlns:a16="http://schemas.microsoft.com/office/drawing/2014/main" id="{45C857DE-E436-4C48-A7B0-E43F6A0D7AC7}"/>
                  </a:ext>
                </a:extLst>
              </p:cNvPr>
              <p:cNvCxnSpPr>
                <a:stCxn id="60" idx="3"/>
                <a:endCxn id="61" idx="1"/>
              </p:cNvCxnSpPr>
              <p:nvPr/>
            </p:nvCxnSpPr>
            <p:spPr>
              <a:xfrm>
                <a:off x="4667188" y="1663500"/>
                <a:ext cx="386400" cy="0"/>
              </a:xfrm>
              <a:prstGeom prst="straightConnector1">
                <a:avLst/>
              </a:prstGeom>
              <a:noFill/>
              <a:ln w="9525" cap="flat" cmpd="sng">
                <a:solidFill>
                  <a:srgbClr val="000000"/>
                </a:solidFill>
                <a:prstDash val="solid"/>
                <a:round/>
                <a:headEnd type="none" w="med" len="med"/>
                <a:tailEnd type="none" w="med" len="med"/>
              </a:ln>
            </p:spPr>
          </p:cxnSp>
        </p:grpSp>
      </p:grpSp>
    </p:spTree>
    <p:extLst>
      <p:ext uri="{BB962C8B-B14F-4D97-AF65-F5344CB8AC3E}">
        <p14:creationId xmlns:p14="http://schemas.microsoft.com/office/powerpoint/2010/main" val="11228215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gear_POWER_USER_SEPARATOR_ICONS_industry_POWER_USER_SEPARATOR_ICONS_setting"/>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idea*light bulb*electricity*creativity*innovation"/>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61</TotalTime>
  <Words>5562</Words>
  <Application>Microsoft Office PowerPoint</Application>
  <PresentationFormat>Widescreen</PresentationFormat>
  <Paragraphs>564</Paragraphs>
  <Slides>35</Slides>
  <Notes>19</Notes>
  <HiddenSlides>0</HiddenSlides>
  <MMClips>1</MMClips>
  <ScaleCrop>false</ScaleCrop>
  <HeadingPairs>
    <vt:vector size="6" baseType="variant">
      <vt:variant>
        <vt:lpstr>Fonts Used</vt:lpstr>
      </vt:variant>
      <vt:variant>
        <vt:i4>14</vt:i4>
      </vt:variant>
      <vt:variant>
        <vt:lpstr>Theme</vt:lpstr>
      </vt:variant>
      <vt:variant>
        <vt:i4>1</vt:i4>
      </vt:variant>
      <vt:variant>
        <vt:lpstr>Slide Titles</vt:lpstr>
      </vt:variant>
      <vt:variant>
        <vt:i4>35</vt:i4>
      </vt:variant>
    </vt:vector>
  </HeadingPairs>
  <TitlesOfParts>
    <vt:vector size="50" baseType="lpstr">
      <vt:lpstr>Arial</vt:lpstr>
      <vt:lpstr>Calibri</vt:lpstr>
      <vt:lpstr>Calibri Light</vt:lpstr>
      <vt:lpstr>Carlito</vt:lpstr>
      <vt:lpstr>Fira Sans Extra Condensed Medium</vt:lpstr>
      <vt:lpstr>halyard-display</vt:lpstr>
      <vt:lpstr>Helvetica</vt:lpstr>
      <vt:lpstr>Interstate-Light</vt:lpstr>
      <vt:lpstr>open-sans</vt:lpstr>
      <vt:lpstr>Publico</vt:lpstr>
      <vt:lpstr>Roboto</vt:lpstr>
      <vt:lpstr>Rubik</vt:lpstr>
      <vt:lpstr>Source Sans Pro</vt:lpstr>
      <vt:lpstr>urw-din</vt:lpstr>
      <vt:lpstr>Office Theme</vt:lpstr>
      <vt:lpstr>PowerPoint Presentation</vt:lpstr>
      <vt:lpstr>Agenda</vt:lpstr>
      <vt:lpstr>What is SDLC</vt:lpstr>
      <vt:lpstr>Aims &amp; Objectives </vt:lpstr>
      <vt:lpstr>SDLC Phases</vt:lpstr>
      <vt:lpstr>PowerPoint Presentation</vt:lpstr>
      <vt:lpstr>PowerPoint Presentation</vt:lpstr>
      <vt:lpstr>PowerPoint Presentation</vt:lpstr>
      <vt:lpstr>SDLC Models</vt:lpstr>
      <vt:lpstr>Big Bang Model</vt:lpstr>
      <vt:lpstr>Iterative Model</vt:lpstr>
      <vt:lpstr>Incremental Model</vt:lpstr>
      <vt:lpstr>V Model</vt:lpstr>
      <vt:lpstr>Spiral Model</vt:lpstr>
      <vt:lpstr>RAD Model</vt:lpstr>
      <vt:lpstr>Waterfall Model</vt:lpstr>
      <vt:lpstr>Important Considerations while Project Planning </vt:lpstr>
      <vt:lpstr>Risk Management approach</vt:lpstr>
      <vt:lpstr>Customer  Team Role Expectations</vt:lpstr>
      <vt:lpstr>Documents involved in SDLC</vt:lpstr>
      <vt:lpstr>Documents involved in SDLC</vt:lpstr>
      <vt:lpstr>Documents involved in SDLC</vt:lpstr>
      <vt:lpstr>Implementing SDLC in Real World</vt:lpstr>
      <vt:lpstr>Agile based Development</vt:lpstr>
      <vt:lpstr>Agile Development</vt:lpstr>
      <vt:lpstr>Agile Development</vt:lpstr>
      <vt:lpstr>Agile Development- Agile based Frameworks</vt:lpstr>
      <vt:lpstr>Agile Development- Agile based Frameworks</vt:lpstr>
      <vt:lpstr>SCRUM Framework</vt:lpstr>
      <vt:lpstr>SCRUM TERMINOLOGY</vt:lpstr>
      <vt:lpstr>SCRUM Artefacts</vt:lpstr>
      <vt:lpstr>Kanban Framework</vt:lpstr>
      <vt:lpstr>Demo – Project Implementation</vt:lpstr>
      <vt:lpstr>Review</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ndan Sutradhar</dc:creator>
  <cp:lastModifiedBy>Pradip Sonawane</cp:lastModifiedBy>
  <cp:revision>11</cp:revision>
  <dcterms:created xsi:type="dcterms:W3CDTF">2021-07-12T03:07:28Z</dcterms:created>
  <dcterms:modified xsi:type="dcterms:W3CDTF">2022-07-06T10:01:59Z</dcterms:modified>
</cp:coreProperties>
</file>